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6"/>
  </p:notesMasterIdLst>
  <p:sldIdLst>
    <p:sldId id="279" r:id="rId2"/>
    <p:sldId id="280" r:id="rId3"/>
    <p:sldId id="281" r:id="rId4"/>
    <p:sldId id="282" r:id="rId5"/>
  </p:sldIdLst>
  <p:sldSz cx="9144000" cy="6858000" type="screen4x3"/>
  <p:notesSz cx="6742113" cy="9872663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6017F400-C59E-4496-815E-AC06020D63A4}">
          <p14:sldIdLst>
            <p14:sldId id="279"/>
            <p14:sldId id="280"/>
            <p14:sldId id="281"/>
            <p14:sldId id="282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AC37D"/>
    <a:srgbClr val="FFFFFF"/>
    <a:srgbClr val="DEF3E5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797" autoAdjust="0"/>
    <p:restoredTop sz="93832" autoAdjust="0"/>
  </p:normalViewPr>
  <p:slideViewPr>
    <p:cSldViewPr snapToGrid="0">
      <p:cViewPr varScale="1">
        <p:scale>
          <a:sx n="86" d="100"/>
          <a:sy n="86" d="100"/>
        </p:scale>
        <p:origin x="1806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21000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19525" y="0"/>
            <a:ext cx="2921000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0A1F522-B87B-4522-9B1A-96D32235DCB6}" type="datetimeFigureOut">
              <a:rPr lang="ru-RU" smtClean="0"/>
              <a:t>30.04.2019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9350" y="1233488"/>
            <a:ext cx="4443413" cy="33321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4688" y="4751388"/>
            <a:ext cx="5392737" cy="38877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377363"/>
            <a:ext cx="2921000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19525" y="9377363"/>
            <a:ext cx="2921000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BD53F2A-A552-4D3B-93E7-AE16A8EA992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899135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D53F2A-A552-4D3B-93E7-AE16A8EA992F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920930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13153" y="2348880"/>
            <a:ext cx="6912769" cy="2160240"/>
          </a:xfrm>
        </p:spPr>
        <p:txBody>
          <a:bodyPr anchor="t" anchorCtr="0"/>
          <a:lstStyle>
            <a:lvl1pPr algn="l">
              <a:defRPr sz="2813" b="1">
                <a:solidFill>
                  <a:schemeClr val="accent2"/>
                </a:solidFill>
              </a:defRPr>
            </a:lvl1pPr>
          </a:lstStyle>
          <a:p>
            <a:r>
              <a:rPr lang="ru-RU" dirty="0" smtClean="0"/>
              <a:t>Заголовок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13153" y="1484313"/>
            <a:ext cx="6912769" cy="721022"/>
          </a:xfrm>
        </p:spPr>
        <p:txBody>
          <a:bodyPr anchor="b" anchorCtr="0"/>
          <a:lstStyle>
            <a:lvl1pPr marL="0" indent="0" algn="l">
              <a:buNone/>
              <a:defRPr sz="1125">
                <a:solidFill>
                  <a:schemeClr val="accent2"/>
                </a:solidFill>
              </a:defRPr>
            </a:lvl1pPr>
            <a:lvl2pPr marL="257175" indent="0" algn="ctr">
              <a:buNone/>
              <a:defRPr sz="1125"/>
            </a:lvl2pPr>
            <a:lvl3pPr marL="514350" indent="0" algn="ctr">
              <a:buNone/>
              <a:defRPr sz="1013"/>
            </a:lvl3pPr>
            <a:lvl4pPr marL="771525" indent="0" algn="ctr">
              <a:buNone/>
              <a:defRPr sz="900"/>
            </a:lvl4pPr>
            <a:lvl5pPr marL="1028700" indent="0" algn="ctr">
              <a:buNone/>
              <a:defRPr sz="900"/>
            </a:lvl5pPr>
            <a:lvl6pPr marL="1285875" indent="0" algn="ctr">
              <a:buNone/>
              <a:defRPr sz="900"/>
            </a:lvl6pPr>
            <a:lvl7pPr marL="1543050" indent="0" algn="ctr">
              <a:buNone/>
              <a:defRPr sz="900"/>
            </a:lvl7pPr>
            <a:lvl8pPr marL="1800225" indent="0" algn="ctr">
              <a:buNone/>
              <a:defRPr sz="900"/>
            </a:lvl8pPr>
            <a:lvl9pPr marL="2057400" indent="0" algn="ctr">
              <a:buNone/>
              <a:defRPr sz="900"/>
            </a:lvl9pPr>
          </a:lstStyle>
          <a:p>
            <a:r>
              <a:rPr lang="ru-RU" dirty="0" smtClean="0"/>
              <a:t>Образец стиля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 smtClean="0"/>
              <a:t>16.11.2016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 smtClean="0"/>
              <a:t>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fld id="{F90E5A77-D385-4CDE-8FE8-D3E3CBE93E7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413153" y="4653136"/>
            <a:ext cx="6912769" cy="720552"/>
          </a:xfrm>
        </p:spPr>
        <p:txBody>
          <a:bodyPr/>
          <a:lstStyle>
            <a:lvl1pPr marL="0" indent="0">
              <a:buFontTx/>
              <a:buNone/>
              <a:defRPr baseline="0"/>
            </a:lvl1pPr>
          </a:lstStyle>
          <a:p>
            <a:pPr lvl="0"/>
            <a:r>
              <a:rPr lang="ru-RU" dirty="0" smtClean="0"/>
              <a:t>Имя</a:t>
            </a:r>
            <a:r>
              <a:rPr lang="en-US" dirty="0" smtClean="0"/>
              <a:t> / </a:t>
            </a:r>
            <a:r>
              <a:rPr lang="ru-RU" dirty="0" smtClean="0"/>
              <a:t>Название</a:t>
            </a:r>
            <a:r>
              <a:rPr lang="en-US" dirty="0" smtClean="0"/>
              <a:t> / </a:t>
            </a:r>
            <a:r>
              <a:rPr lang="ru-RU" dirty="0" smtClean="0"/>
              <a:t>Дата</a:t>
            </a:r>
            <a:endParaRPr lang="en-US" dirty="0" smtClean="0"/>
          </a:p>
        </p:txBody>
      </p:sp>
      <p:sp>
        <p:nvSpPr>
          <p:cNvPr id="36" name="Rectangle 35"/>
          <p:cNvSpPr/>
          <p:nvPr userDrawn="1"/>
        </p:nvSpPr>
        <p:spPr>
          <a:xfrm>
            <a:off x="8730858" y="4653136"/>
            <a:ext cx="413147" cy="57606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013">
              <a:solidFill>
                <a:prstClr val="white"/>
              </a:solidFill>
            </a:endParaRPr>
          </a:p>
        </p:txBody>
      </p:sp>
      <p:sp>
        <p:nvSpPr>
          <p:cNvPr id="37" name="Rectangle 36"/>
          <p:cNvSpPr/>
          <p:nvPr userDrawn="1"/>
        </p:nvSpPr>
        <p:spPr>
          <a:xfrm>
            <a:off x="7434357" y="5805916"/>
            <a:ext cx="351000" cy="4674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013">
              <a:solidFill>
                <a:prstClr val="white"/>
              </a:solidFill>
            </a:endParaRPr>
          </a:p>
        </p:txBody>
      </p:sp>
      <p:sp>
        <p:nvSpPr>
          <p:cNvPr id="38" name="Rectangle 37"/>
          <p:cNvSpPr/>
          <p:nvPr userDrawn="1"/>
        </p:nvSpPr>
        <p:spPr>
          <a:xfrm>
            <a:off x="8292495" y="4077056"/>
            <a:ext cx="216024" cy="28803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013">
              <a:solidFill>
                <a:prstClr val="white"/>
              </a:solidFill>
            </a:endParaRPr>
          </a:p>
        </p:txBody>
      </p:sp>
      <p:sp>
        <p:nvSpPr>
          <p:cNvPr id="40" name="Rectangle 39"/>
          <p:cNvSpPr/>
          <p:nvPr userDrawn="1"/>
        </p:nvSpPr>
        <p:spPr>
          <a:xfrm>
            <a:off x="7785360" y="5229122"/>
            <a:ext cx="1358644" cy="104419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013">
              <a:solidFill>
                <a:prstClr val="white"/>
              </a:solidFill>
            </a:endParaRPr>
          </a:p>
        </p:txBody>
      </p:sp>
      <p:sp>
        <p:nvSpPr>
          <p:cNvPr id="22" name="Rectangle 21"/>
          <p:cNvSpPr/>
          <p:nvPr userDrawn="1"/>
        </p:nvSpPr>
        <p:spPr>
          <a:xfrm>
            <a:off x="7785357" y="6273316"/>
            <a:ext cx="1080120" cy="396044"/>
          </a:xfrm>
          <a:prstGeom prst="rect">
            <a:avLst/>
          </a:prstGeom>
          <a:solidFill>
            <a:srgbClr val="83D2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013">
              <a:solidFill>
                <a:prstClr val="white"/>
              </a:solidFill>
            </a:endParaRPr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0374" y="6334012"/>
            <a:ext cx="836965" cy="274652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7863809" y="5377816"/>
            <a:ext cx="1514727" cy="4662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60000"/>
              </a:lnSpc>
            </a:pPr>
            <a:r>
              <a:rPr lang="ru-RU" sz="1350" b="1" dirty="0">
                <a:solidFill>
                  <a:prstClr val="white"/>
                </a:solidFill>
                <a:latin typeface="GT Eesti Pro Display Bold" pitchFamily="50" charset="-52"/>
                <a:cs typeface="Arial" charset="0"/>
              </a:rPr>
              <a:t>Станьте </a:t>
            </a:r>
          </a:p>
          <a:p>
            <a:pPr>
              <a:lnSpc>
                <a:spcPct val="60000"/>
              </a:lnSpc>
            </a:pPr>
            <a:r>
              <a:rPr lang="ru-RU" sz="1350" b="1" dirty="0">
                <a:solidFill>
                  <a:prstClr val="white"/>
                </a:solidFill>
                <a:latin typeface="GT Eesti Pro Display Bold" pitchFamily="50" charset="-52"/>
                <a:cs typeface="Arial" charset="0"/>
              </a:rPr>
              <a:t>частью</a:t>
            </a:r>
          </a:p>
          <a:p>
            <a:pPr>
              <a:lnSpc>
                <a:spcPct val="60000"/>
              </a:lnSpc>
            </a:pPr>
            <a:r>
              <a:rPr lang="ru-RU" sz="1350" b="1" dirty="0">
                <a:solidFill>
                  <a:prstClr val="white"/>
                </a:solidFill>
                <a:latin typeface="GT Eesti Pro Display Bold" pitchFamily="50" charset="-52"/>
                <a:cs typeface="Arial" charset="0"/>
              </a:rPr>
              <a:t>перемен</a:t>
            </a:r>
          </a:p>
        </p:txBody>
      </p:sp>
    </p:spTree>
    <p:extLst>
      <p:ext uri="{BB962C8B-B14F-4D97-AF65-F5344CB8AC3E}">
        <p14:creationId xmlns:p14="http://schemas.microsoft.com/office/powerpoint/2010/main" val="14705234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Small Picture" preserve="1" userDrawn="1">
  <p:cSld name="Title and Sma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13153" y="1484313"/>
            <a:ext cx="4050841" cy="4608512"/>
          </a:xfrm>
        </p:spPr>
        <p:txBody>
          <a:bodyPr/>
          <a:lstStyle/>
          <a:p>
            <a:pPr lvl="0"/>
            <a:r>
              <a:rPr lang="ru-RU" dirty="0" smtClean="0"/>
              <a:t>Образец стиля текста</a:t>
            </a:r>
            <a:endParaRPr lang="en-US" dirty="0" smtClean="0"/>
          </a:p>
          <a:p>
            <a:pPr lvl="1"/>
            <a:r>
              <a:rPr lang="ru-RU" dirty="0" smtClean="0"/>
              <a:t>Образец стиля текста второго уровня</a:t>
            </a:r>
            <a:endParaRPr lang="en-US" dirty="0" smtClean="0"/>
          </a:p>
          <a:p>
            <a:pPr lvl="2"/>
            <a:r>
              <a:rPr lang="ru-RU" dirty="0" smtClean="0"/>
              <a:t>Образец стиля текста третьего уровня</a:t>
            </a:r>
            <a:endParaRPr lang="en-US" dirty="0" smtClean="0"/>
          </a:p>
          <a:p>
            <a:pPr lvl="3"/>
            <a:r>
              <a:rPr lang="ru-RU" dirty="0" smtClean="0"/>
              <a:t>Образец стиля текста четвёртого уровня</a:t>
            </a:r>
            <a:endParaRPr lang="en-US" dirty="0" smtClean="0"/>
          </a:p>
          <a:p>
            <a:pPr lvl="4"/>
            <a:r>
              <a:rPr lang="ru-RU" dirty="0" smtClean="0"/>
              <a:t>Образец стиля текста пятого уровня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>
                <a:solidFill>
                  <a:srgbClr val="000000"/>
                </a:solidFill>
              </a:rPr>
              <a:t>16.11.2016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srgbClr val="000000"/>
                </a:solidFill>
              </a:rPr>
              <a:t> 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680013" y="1484314"/>
            <a:ext cx="4050842" cy="4608512"/>
          </a:xfrm>
          <a:solidFill>
            <a:srgbClr val="EAEAEA"/>
          </a:solidFill>
        </p:spPr>
        <p:txBody>
          <a:bodyPr/>
          <a:lstStyle>
            <a:lvl1pPr marL="0" indent="0">
              <a:buFontTx/>
              <a:buNone/>
              <a:defRPr sz="1013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Вставка рисунка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Заголовок слайда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266323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Picture 1/1" preserve="1" userDrawn="1">
  <p:cSld name="Title and Picture 1/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>
                <a:solidFill>
                  <a:srgbClr val="000000"/>
                </a:solidFill>
              </a:rPr>
              <a:t>16.11.2016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srgbClr val="000000"/>
                </a:solidFill>
              </a:rPr>
              <a:t> 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13149" y="1484314"/>
            <a:ext cx="8317706" cy="4608512"/>
          </a:xfrm>
          <a:solidFill>
            <a:srgbClr val="EAEAEA"/>
          </a:solidFill>
        </p:spPr>
        <p:txBody>
          <a:bodyPr/>
          <a:lstStyle>
            <a:lvl1pPr marL="0" indent="0">
              <a:buFontTx/>
              <a:buNone/>
              <a:defRPr sz="1013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Вставка рисунка</a:t>
            </a: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Заголовок слайда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84466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>
                <a:solidFill>
                  <a:srgbClr val="000000"/>
                </a:solidFill>
              </a:rPr>
              <a:t>16.11.2016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srgbClr val="000000"/>
                </a:solidFill>
              </a:rPr>
              <a:t> 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Заголовок слайда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30842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>
                <a:solidFill>
                  <a:srgbClr val="000000"/>
                </a:solidFill>
              </a:rPr>
              <a:t>16.11.2016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srgbClr val="000000"/>
                </a:solidFill>
              </a:rPr>
              <a:t> 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4441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logan" preserve="1" userDrawn="1">
  <p:cSld name="Slog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ate Placeholder 13"/>
          <p:cNvSpPr>
            <a:spLocks noGrp="1"/>
          </p:cNvSpPr>
          <p:nvPr>
            <p:ph type="dt" sz="half" idx="10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 smtClean="0"/>
              <a:t>16.11.2016</a:t>
            </a:r>
            <a:endParaRPr lang="en-US" dirty="0"/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1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 smtClean="0"/>
              <a:t> </a:t>
            </a:r>
            <a:endParaRPr lang="en-US" dirty="0"/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fld id="{F90E5A77-D385-4CDE-8FE8-D3E3CBE93E7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13148" y="2564915"/>
            <a:ext cx="8317704" cy="1656457"/>
          </a:xfrm>
        </p:spPr>
        <p:txBody>
          <a:bodyPr anchor="ctr" anchorCtr="0"/>
          <a:lstStyle>
            <a:lvl1pPr algn="ctr">
              <a:defRPr sz="2813">
                <a:solidFill>
                  <a:schemeClr val="accent2"/>
                </a:solidFill>
              </a:defRPr>
            </a:lvl1pPr>
          </a:lstStyle>
          <a:p>
            <a:r>
              <a:rPr lang="ru-RU" dirty="0" smtClean="0"/>
              <a:t>Заголово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6628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13153" y="2348880"/>
            <a:ext cx="6912769" cy="2160240"/>
          </a:xfrm>
        </p:spPr>
        <p:txBody>
          <a:bodyPr anchor="t" anchorCtr="0"/>
          <a:lstStyle>
            <a:lvl1pPr algn="l">
              <a:defRPr sz="2813" b="1">
                <a:solidFill>
                  <a:schemeClr val="accent2"/>
                </a:solidFill>
              </a:defRPr>
            </a:lvl1pPr>
          </a:lstStyle>
          <a:p>
            <a:r>
              <a:rPr lang="ru-RU" dirty="0" smtClean="0"/>
              <a:t>Заголовок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13153" y="1484313"/>
            <a:ext cx="6912769" cy="721022"/>
          </a:xfrm>
        </p:spPr>
        <p:txBody>
          <a:bodyPr anchor="b" anchorCtr="0"/>
          <a:lstStyle>
            <a:lvl1pPr marL="0" indent="0" algn="l">
              <a:buNone/>
              <a:defRPr sz="1125">
                <a:solidFill>
                  <a:schemeClr val="accent2"/>
                </a:solidFill>
              </a:defRPr>
            </a:lvl1pPr>
            <a:lvl2pPr marL="257175" indent="0" algn="ctr">
              <a:buNone/>
              <a:defRPr sz="1125"/>
            </a:lvl2pPr>
            <a:lvl3pPr marL="514350" indent="0" algn="ctr">
              <a:buNone/>
              <a:defRPr sz="1013"/>
            </a:lvl3pPr>
            <a:lvl4pPr marL="771525" indent="0" algn="ctr">
              <a:buNone/>
              <a:defRPr sz="900"/>
            </a:lvl4pPr>
            <a:lvl5pPr marL="1028700" indent="0" algn="ctr">
              <a:buNone/>
              <a:defRPr sz="900"/>
            </a:lvl5pPr>
            <a:lvl6pPr marL="1285875" indent="0" algn="ctr">
              <a:buNone/>
              <a:defRPr sz="900"/>
            </a:lvl6pPr>
            <a:lvl7pPr marL="1543050" indent="0" algn="ctr">
              <a:buNone/>
              <a:defRPr sz="900"/>
            </a:lvl7pPr>
            <a:lvl8pPr marL="1800225" indent="0" algn="ctr">
              <a:buNone/>
              <a:defRPr sz="900"/>
            </a:lvl8pPr>
            <a:lvl9pPr marL="2057400" indent="0" algn="ctr">
              <a:buNone/>
              <a:defRPr sz="900"/>
            </a:lvl9pPr>
          </a:lstStyle>
          <a:p>
            <a:r>
              <a:rPr lang="ru-RU" dirty="0" smtClean="0"/>
              <a:t>Образец стиля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 smtClean="0"/>
              <a:t>16.11.2016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 smtClean="0"/>
              <a:t>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fld id="{F90E5A77-D385-4CDE-8FE8-D3E3CBE93E7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413153" y="4653136"/>
            <a:ext cx="6912769" cy="720552"/>
          </a:xfrm>
        </p:spPr>
        <p:txBody>
          <a:bodyPr/>
          <a:lstStyle>
            <a:lvl1pPr marL="0" indent="0">
              <a:buFontTx/>
              <a:buNone/>
              <a:defRPr baseline="0"/>
            </a:lvl1pPr>
          </a:lstStyle>
          <a:p>
            <a:pPr lvl="0"/>
            <a:r>
              <a:rPr lang="en-US" dirty="0" smtClean="0"/>
              <a:t>Name / Title / Date</a:t>
            </a:r>
          </a:p>
        </p:txBody>
      </p:sp>
      <p:sp>
        <p:nvSpPr>
          <p:cNvPr id="36" name="Rectangle 35"/>
          <p:cNvSpPr/>
          <p:nvPr userDrawn="1"/>
        </p:nvSpPr>
        <p:spPr>
          <a:xfrm>
            <a:off x="8730858" y="4653136"/>
            <a:ext cx="413147" cy="57606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013">
              <a:solidFill>
                <a:prstClr val="white"/>
              </a:solidFill>
            </a:endParaRPr>
          </a:p>
        </p:txBody>
      </p:sp>
      <p:sp>
        <p:nvSpPr>
          <p:cNvPr id="37" name="Rectangle 36"/>
          <p:cNvSpPr/>
          <p:nvPr userDrawn="1"/>
        </p:nvSpPr>
        <p:spPr>
          <a:xfrm>
            <a:off x="7434357" y="5805916"/>
            <a:ext cx="351000" cy="4674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013">
              <a:solidFill>
                <a:prstClr val="white"/>
              </a:solidFill>
            </a:endParaRPr>
          </a:p>
        </p:txBody>
      </p:sp>
      <p:sp>
        <p:nvSpPr>
          <p:cNvPr id="38" name="Rectangle 37"/>
          <p:cNvSpPr/>
          <p:nvPr userDrawn="1"/>
        </p:nvSpPr>
        <p:spPr>
          <a:xfrm>
            <a:off x="8292495" y="4077056"/>
            <a:ext cx="216024" cy="288032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013">
              <a:solidFill>
                <a:prstClr val="white"/>
              </a:solidFill>
            </a:endParaRPr>
          </a:p>
        </p:txBody>
      </p:sp>
      <p:grpSp>
        <p:nvGrpSpPr>
          <p:cNvPr id="39" name="Group 38"/>
          <p:cNvGrpSpPr/>
          <p:nvPr userDrawn="1"/>
        </p:nvGrpSpPr>
        <p:grpSpPr>
          <a:xfrm>
            <a:off x="7785360" y="5229122"/>
            <a:ext cx="1358644" cy="1044194"/>
            <a:chOff x="9922019" y="5441193"/>
            <a:chExt cx="2006455" cy="1156555"/>
          </a:xfrm>
        </p:grpSpPr>
        <p:sp>
          <p:nvSpPr>
            <p:cNvPr id="40" name="Rectangle 39"/>
            <p:cNvSpPr/>
            <p:nvPr userDrawn="1"/>
          </p:nvSpPr>
          <p:spPr>
            <a:xfrm>
              <a:off x="9922019" y="5441193"/>
              <a:ext cx="2006455" cy="1156555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013">
                <a:solidFill>
                  <a:prstClr val="white"/>
                </a:solidFill>
              </a:endParaRPr>
            </a:p>
          </p:txBody>
        </p:sp>
        <p:sp>
          <p:nvSpPr>
            <p:cNvPr id="41" name="Freeform 6"/>
            <p:cNvSpPr>
              <a:spLocks noEditPoints="1"/>
            </p:cNvSpPr>
            <p:nvPr userDrawn="1"/>
          </p:nvSpPr>
          <p:spPr bwMode="auto">
            <a:xfrm>
              <a:off x="10200210" y="5659646"/>
              <a:ext cx="1440406" cy="801030"/>
            </a:xfrm>
            <a:custGeom>
              <a:avLst/>
              <a:gdLst>
                <a:gd name="T0" fmla="*/ 2140 w 2388"/>
                <a:gd name="T1" fmla="*/ 289 h 1328"/>
                <a:gd name="T2" fmla="*/ 2094 w 2388"/>
                <a:gd name="T3" fmla="*/ 208 h 1328"/>
                <a:gd name="T4" fmla="*/ 2013 w 2388"/>
                <a:gd name="T5" fmla="*/ 407 h 1328"/>
                <a:gd name="T6" fmla="*/ 2172 w 2388"/>
                <a:gd name="T7" fmla="*/ 566 h 1328"/>
                <a:gd name="T8" fmla="*/ 2243 w 2388"/>
                <a:gd name="T9" fmla="*/ 468 h 1328"/>
                <a:gd name="T10" fmla="*/ 2384 w 2388"/>
                <a:gd name="T11" fmla="*/ 328 h 1328"/>
                <a:gd name="T12" fmla="*/ 2254 w 2388"/>
                <a:gd name="T13" fmla="*/ 183 h 1328"/>
                <a:gd name="T14" fmla="*/ 1799 w 2388"/>
                <a:gd name="T15" fmla="*/ 285 h 1328"/>
                <a:gd name="T16" fmla="*/ 2000 w 2388"/>
                <a:gd name="T17" fmla="*/ 311 h 1328"/>
                <a:gd name="T18" fmla="*/ 1862 w 2388"/>
                <a:gd name="T19" fmla="*/ 178 h 1328"/>
                <a:gd name="T20" fmla="*/ 1343 w 2388"/>
                <a:gd name="T21" fmla="*/ 189 h 1328"/>
                <a:gd name="T22" fmla="*/ 1538 w 2388"/>
                <a:gd name="T23" fmla="*/ 558 h 1328"/>
                <a:gd name="T24" fmla="*/ 1013 w 2388"/>
                <a:gd name="T25" fmla="*/ 179 h 1328"/>
                <a:gd name="T26" fmla="*/ 916 w 2388"/>
                <a:gd name="T27" fmla="*/ 341 h 1328"/>
                <a:gd name="T28" fmla="*/ 1035 w 2388"/>
                <a:gd name="T29" fmla="*/ 302 h 1328"/>
                <a:gd name="T30" fmla="*/ 1141 w 2388"/>
                <a:gd name="T31" fmla="*/ 225 h 1328"/>
                <a:gd name="T32" fmla="*/ 762 w 2388"/>
                <a:gd name="T33" fmla="*/ 0 h 1328"/>
                <a:gd name="T34" fmla="*/ 483 w 2388"/>
                <a:gd name="T35" fmla="*/ 430 h 1328"/>
                <a:gd name="T36" fmla="*/ 330 w 2388"/>
                <a:gd name="T37" fmla="*/ 383 h 1328"/>
                <a:gd name="T38" fmla="*/ 353 w 2388"/>
                <a:gd name="T39" fmla="*/ 186 h 1328"/>
                <a:gd name="T40" fmla="*/ 210 w 2388"/>
                <a:gd name="T41" fmla="*/ 363 h 1328"/>
                <a:gd name="T42" fmla="*/ 325 w 2388"/>
                <a:gd name="T43" fmla="*/ 553 h 1328"/>
                <a:gd name="T44" fmla="*/ 565 w 2388"/>
                <a:gd name="T45" fmla="*/ 516 h 1328"/>
                <a:gd name="T46" fmla="*/ 608 w 2388"/>
                <a:gd name="T47" fmla="*/ 293 h 1328"/>
                <a:gd name="T48" fmla="*/ 417 w 2388"/>
                <a:gd name="T49" fmla="*/ 178 h 1328"/>
                <a:gd name="T50" fmla="*/ 104 w 2388"/>
                <a:gd name="T51" fmla="*/ 552 h 1328"/>
                <a:gd name="T52" fmla="*/ 2228 w 2388"/>
                <a:gd name="T53" fmla="*/ 867 h 1328"/>
                <a:gd name="T54" fmla="*/ 2167 w 2388"/>
                <a:gd name="T55" fmla="*/ 869 h 1328"/>
                <a:gd name="T56" fmla="*/ 2059 w 2388"/>
                <a:gd name="T57" fmla="*/ 835 h 1328"/>
                <a:gd name="T58" fmla="*/ 2029 w 2388"/>
                <a:gd name="T59" fmla="*/ 1062 h 1328"/>
                <a:gd name="T60" fmla="*/ 2228 w 2388"/>
                <a:gd name="T61" fmla="*/ 1168 h 1328"/>
                <a:gd name="T62" fmla="*/ 2192 w 2388"/>
                <a:gd name="T63" fmla="*/ 1066 h 1328"/>
                <a:gd name="T64" fmla="*/ 2371 w 2388"/>
                <a:gd name="T65" fmla="*/ 878 h 1328"/>
                <a:gd name="T66" fmla="*/ 1790 w 2388"/>
                <a:gd name="T67" fmla="*/ 1059 h 1328"/>
                <a:gd name="T68" fmla="*/ 1719 w 2388"/>
                <a:gd name="T69" fmla="*/ 922 h 1328"/>
                <a:gd name="T70" fmla="*/ 1868 w 2388"/>
                <a:gd name="T71" fmla="*/ 936 h 1328"/>
                <a:gd name="T72" fmla="*/ 1846 w 2388"/>
                <a:gd name="T73" fmla="*/ 1326 h 1328"/>
                <a:gd name="T74" fmla="*/ 1997 w 2388"/>
                <a:gd name="T75" fmla="*/ 1177 h 1328"/>
                <a:gd name="T76" fmla="*/ 1729 w 2388"/>
                <a:gd name="T77" fmla="*/ 777 h 1328"/>
                <a:gd name="T78" fmla="*/ 1586 w 2388"/>
                <a:gd name="T79" fmla="*/ 926 h 1328"/>
                <a:gd name="T80" fmla="*/ 1659 w 2388"/>
                <a:gd name="T81" fmla="*/ 1136 h 1328"/>
                <a:gd name="T82" fmla="*/ 1863 w 2388"/>
                <a:gd name="T83" fmla="*/ 1123 h 1328"/>
                <a:gd name="T84" fmla="*/ 1768 w 2388"/>
                <a:gd name="T85" fmla="*/ 1215 h 1328"/>
                <a:gd name="T86" fmla="*/ 1369 w 2388"/>
                <a:gd name="T87" fmla="*/ 790 h 1328"/>
                <a:gd name="T88" fmla="*/ 1331 w 2388"/>
                <a:gd name="T89" fmla="*/ 902 h 1328"/>
                <a:gd name="T90" fmla="*/ 1448 w 2388"/>
                <a:gd name="T91" fmla="*/ 934 h 1328"/>
                <a:gd name="T92" fmla="*/ 1505 w 2388"/>
                <a:gd name="T93" fmla="*/ 793 h 1328"/>
                <a:gd name="T94" fmla="*/ 869 w 2388"/>
                <a:gd name="T95" fmla="*/ 1000 h 1328"/>
                <a:gd name="T96" fmla="*/ 984 w 2388"/>
                <a:gd name="T97" fmla="*/ 892 h 1328"/>
                <a:gd name="T98" fmla="*/ 991 w 2388"/>
                <a:gd name="T99" fmla="*/ 1050 h 1328"/>
                <a:gd name="T100" fmla="*/ 1038 w 2388"/>
                <a:gd name="T101" fmla="*/ 1157 h 1328"/>
                <a:gd name="T102" fmla="*/ 881 w 2388"/>
                <a:gd name="T103" fmla="*/ 779 h 1328"/>
                <a:gd name="T104" fmla="*/ 744 w 2388"/>
                <a:gd name="T105" fmla="*/ 937 h 1328"/>
                <a:gd name="T106" fmla="*/ 833 w 2388"/>
                <a:gd name="T107" fmla="*/ 1149 h 1328"/>
                <a:gd name="T108" fmla="*/ 498 w 2388"/>
                <a:gd name="T109" fmla="*/ 898 h 1328"/>
                <a:gd name="T110" fmla="*/ 610 w 2388"/>
                <a:gd name="T111" fmla="*/ 962 h 1328"/>
                <a:gd name="T112" fmla="*/ 641 w 2388"/>
                <a:gd name="T113" fmla="*/ 782 h 1328"/>
                <a:gd name="T114" fmla="*/ 233 w 2388"/>
                <a:gd name="T115" fmla="*/ 1168 h 1328"/>
                <a:gd name="T116" fmla="*/ 193 w 2388"/>
                <a:gd name="T117" fmla="*/ 1055 h 1328"/>
                <a:gd name="T118" fmla="*/ 145 w 2388"/>
                <a:gd name="T119" fmla="*/ 921 h 1328"/>
                <a:gd name="T120" fmla="*/ 317 w 2388"/>
                <a:gd name="T121" fmla="*/ 797 h 1328"/>
                <a:gd name="T122" fmla="*/ 54 w 2388"/>
                <a:gd name="T123" fmla="*/ 843 h 1328"/>
                <a:gd name="T124" fmla="*/ 32 w 2388"/>
                <a:gd name="T125" fmla="*/ 1070 h 1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388" h="1328">
                  <a:moveTo>
                    <a:pt x="2201" y="264"/>
                  </a:moveTo>
                  <a:lnTo>
                    <a:pt x="2208" y="264"/>
                  </a:lnTo>
                  <a:lnTo>
                    <a:pt x="2216" y="265"/>
                  </a:lnTo>
                  <a:lnTo>
                    <a:pt x="2222" y="266"/>
                  </a:lnTo>
                  <a:lnTo>
                    <a:pt x="2228" y="268"/>
                  </a:lnTo>
                  <a:lnTo>
                    <a:pt x="2234" y="270"/>
                  </a:lnTo>
                  <a:lnTo>
                    <a:pt x="2239" y="273"/>
                  </a:lnTo>
                  <a:lnTo>
                    <a:pt x="2245" y="278"/>
                  </a:lnTo>
                  <a:lnTo>
                    <a:pt x="2250" y="282"/>
                  </a:lnTo>
                  <a:lnTo>
                    <a:pt x="2255" y="286"/>
                  </a:lnTo>
                  <a:lnTo>
                    <a:pt x="2258" y="291"/>
                  </a:lnTo>
                  <a:lnTo>
                    <a:pt x="2262" y="296"/>
                  </a:lnTo>
                  <a:lnTo>
                    <a:pt x="2265" y="302"/>
                  </a:lnTo>
                  <a:lnTo>
                    <a:pt x="2268" y="310"/>
                  </a:lnTo>
                  <a:lnTo>
                    <a:pt x="2270" y="316"/>
                  </a:lnTo>
                  <a:lnTo>
                    <a:pt x="2271" y="323"/>
                  </a:lnTo>
                  <a:lnTo>
                    <a:pt x="2272" y="332"/>
                  </a:lnTo>
                  <a:lnTo>
                    <a:pt x="2124" y="332"/>
                  </a:lnTo>
                  <a:lnTo>
                    <a:pt x="2125" y="323"/>
                  </a:lnTo>
                  <a:lnTo>
                    <a:pt x="2127" y="315"/>
                  </a:lnTo>
                  <a:lnTo>
                    <a:pt x="2130" y="308"/>
                  </a:lnTo>
                  <a:lnTo>
                    <a:pt x="2132" y="300"/>
                  </a:lnTo>
                  <a:lnTo>
                    <a:pt x="2137" y="294"/>
                  </a:lnTo>
                  <a:lnTo>
                    <a:pt x="2140" y="289"/>
                  </a:lnTo>
                  <a:lnTo>
                    <a:pt x="2145" y="284"/>
                  </a:lnTo>
                  <a:lnTo>
                    <a:pt x="2149" y="280"/>
                  </a:lnTo>
                  <a:lnTo>
                    <a:pt x="2154" y="275"/>
                  </a:lnTo>
                  <a:lnTo>
                    <a:pt x="2160" y="272"/>
                  </a:lnTo>
                  <a:lnTo>
                    <a:pt x="2167" y="270"/>
                  </a:lnTo>
                  <a:lnTo>
                    <a:pt x="2173" y="267"/>
                  </a:lnTo>
                  <a:lnTo>
                    <a:pt x="2179" y="266"/>
                  </a:lnTo>
                  <a:lnTo>
                    <a:pt x="2186" y="264"/>
                  </a:lnTo>
                  <a:lnTo>
                    <a:pt x="2194" y="264"/>
                  </a:lnTo>
                  <a:lnTo>
                    <a:pt x="2201" y="264"/>
                  </a:lnTo>
                  <a:close/>
                  <a:moveTo>
                    <a:pt x="2205" y="179"/>
                  </a:moveTo>
                  <a:lnTo>
                    <a:pt x="2194" y="179"/>
                  </a:lnTo>
                  <a:lnTo>
                    <a:pt x="2183" y="179"/>
                  </a:lnTo>
                  <a:lnTo>
                    <a:pt x="2174" y="180"/>
                  </a:lnTo>
                  <a:lnTo>
                    <a:pt x="2169" y="181"/>
                  </a:lnTo>
                  <a:lnTo>
                    <a:pt x="2164" y="182"/>
                  </a:lnTo>
                  <a:lnTo>
                    <a:pt x="2154" y="184"/>
                  </a:lnTo>
                  <a:lnTo>
                    <a:pt x="2145" y="186"/>
                  </a:lnTo>
                  <a:lnTo>
                    <a:pt x="2136" y="188"/>
                  </a:lnTo>
                  <a:lnTo>
                    <a:pt x="2126" y="191"/>
                  </a:lnTo>
                  <a:lnTo>
                    <a:pt x="2118" y="195"/>
                  </a:lnTo>
                  <a:lnTo>
                    <a:pt x="2110" y="199"/>
                  </a:lnTo>
                  <a:lnTo>
                    <a:pt x="2101" y="203"/>
                  </a:lnTo>
                  <a:lnTo>
                    <a:pt x="2094" y="208"/>
                  </a:lnTo>
                  <a:lnTo>
                    <a:pt x="2087" y="213"/>
                  </a:lnTo>
                  <a:lnTo>
                    <a:pt x="2078" y="218"/>
                  </a:lnTo>
                  <a:lnTo>
                    <a:pt x="2072" y="223"/>
                  </a:lnTo>
                  <a:lnTo>
                    <a:pt x="2065" y="230"/>
                  </a:lnTo>
                  <a:lnTo>
                    <a:pt x="2059" y="237"/>
                  </a:lnTo>
                  <a:lnTo>
                    <a:pt x="2056" y="240"/>
                  </a:lnTo>
                  <a:lnTo>
                    <a:pt x="2052" y="243"/>
                  </a:lnTo>
                  <a:lnTo>
                    <a:pt x="2047" y="250"/>
                  </a:lnTo>
                  <a:lnTo>
                    <a:pt x="2042" y="259"/>
                  </a:lnTo>
                  <a:lnTo>
                    <a:pt x="2037" y="266"/>
                  </a:lnTo>
                  <a:lnTo>
                    <a:pt x="2033" y="274"/>
                  </a:lnTo>
                  <a:lnTo>
                    <a:pt x="2029" y="283"/>
                  </a:lnTo>
                  <a:lnTo>
                    <a:pt x="2024" y="292"/>
                  </a:lnTo>
                  <a:lnTo>
                    <a:pt x="2021" y="301"/>
                  </a:lnTo>
                  <a:lnTo>
                    <a:pt x="2019" y="311"/>
                  </a:lnTo>
                  <a:lnTo>
                    <a:pt x="2016" y="321"/>
                  </a:lnTo>
                  <a:lnTo>
                    <a:pt x="2014" y="332"/>
                  </a:lnTo>
                  <a:lnTo>
                    <a:pt x="2013" y="342"/>
                  </a:lnTo>
                  <a:lnTo>
                    <a:pt x="2012" y="352"/>
                  </a:lnTo>
                  <a:lnTo>
                    <a:pt x="2011" y="364"/>
                  </a:lnTo>
                  <a:lnTo>
                    <a:pt x="2010" y="375"/>
                  </a:lnTo>
                  <a:lnTo>
                    <a:pt x="2011" y="387"/>
                  </a:lnTo>
                  <a:lnTo>
                    <a:pt x="2012" y="397"/>
                  </a:lnTo>
                  <a:lnTo>
                    <a:pt x="2013" y="407"/>
                  </a:lnTo>
                  <a:lnTo>
                    <a:pt x="2014" y="418"/>
                  </a:lnTo>
                  <a:lnTo>
                    <a:pt x="2019" y="438"/>
                  </a:lnTo>
                  <a:lnTo>
                    <a:pt x="2021" y="446"/>
                  </a:lnTo>
                  <a:lnTo>
                    <a:pt x="2025" y="455"/>
                  </a:lnTo>
                  <a:lnTo>
                    <a:pt x="2029" y="464"/>
                  </a:lnTo>
                  <a:lnTo>
                    <a:pt x="2033" y="473"/>
                  </a:lnTo>
                  <a:lnTo>
                    <a:pt x="2038" y="480"/>
                  </a:lnTo>
                  <a:lnTo>
                    <a:pt x="2042" y="488"/>
                  </a:lnTo>
                  <a:lnTo>
                    <a:pt x="2048" y="496"/>
                  </a:lnTo>
                  <a:lnTo>
                    <a:pt x="2053" y="503"/>
                  </a:lnTo>
                  <a:lnTo>
                    <a:pt x="2060" y="510"/>
                  </a:lnTo>
                  <a:lnTo>
                    <a:pt x="2067" y="516"/>
                  </a:lnTo>
                  <a:lnTo>
                    <a:pt x="2074" y="523"/>
                  </a:lnTo>
                  <a:lnTo>
                    <a:pt x="2082" y="529"/>
                  </a:lnTo>
                  <a:lnTo>
                    <a:pt x="2089" y="534"/>
                  </a:lnTo>
                  <a:lnTo>
                    <a:pt x="2097" y="539"/>
                  </a:lnTo>
                  <a:lnTo>
                    <a:pt x="2105" y="545"/>
                  </a:lnTo>
                  <a:lnTo>
                    <a:pt x="2114" y="549"/>
                  </a:lnTo>
                  <a:lnTo>
                    <a:pt x="2122" y="553"/>
                  </a:lnTo>
                  <a:lnTo>
                    <a:pt x="2131" y="556"/>
                  </a:lnTo>
                  <a:lnTo>
                    <a:pt x="2141" y="559"/>
                  </a:lnTo>
                  <a:lnTo>
                    <a:pt x="2151" y="562"/>
                  </a:lnTo>
                  <a:lnTo>
                    <a:pt x="2162" y="564"/>
                  </a:lnTo>
                  <a:lnTo>
                    <a:pt x="2172" y="566"/>
                  </a:lnTo>
                  <a:lnTo>
                    <a:pt x="2182" y="567"/>
                  </a:lnTo>
                  <a:lnTo>
                    <a:pt x="2193" y="568"/>
                  </a:lnTo>
                  <a:lnTo>
                    <a:pt x="2204" y="569"/>
                  </a:lnTo>
                  <a:lnTo>
                    <a:pt x="2217" y="571"/>
                  </a:lnTo>
                  <a:lnTo>
                    <a:pt x="2228" y="569"/>
                  </a:lnTo>
                  <a:lnTo>
                    <a:pt x="2239" y="569"/>
                  </a:lnTo>
                  <a:lnTo>
                    <a:pt x="2250" y="568"/>
                  </a:lnTo>
                  <a:lnTo>
                    <a:pt x="2261" y="566"/>
                  </a:lnTo>
                  <a:lnTo>
                    <a:pt x="2272" y="565"/>
                  </a:lnTo>
                  <a:lnTo>
                    <a:pt x="2281" y="563"/>
                  </a:lnTo>
                  <a:lnTo>
                    <a:pt x="2301" y="557"/>
                  </a:lnTo>
                  <a:lnTo>
                    <a:pt x="2319" y="551"/>
                  </a:lnTo>
                  <a:lnTo>
                    <a:pt x="2337" y="544"/>
                  </a:lnTo>
                  <a:lnTo>
                    <a:pt x="2353" y="536"/>
                  </a:lnTo>
                  <a:lnTo>
                    <a:pt x="2368" y="527"/>
                  </a:lnTo>
                  <a:lnTo>
                    <a:pt x="2325" y="436"/>
                  </a:lnTo>
                  <a:lnTo>
                    <a:pt x="2315" y="442"/>
                  </a:lnTo>
                  <a:lnTo>
                    <a:pt x="2305" y="448"/>
                  </a:lnTo>
                  <a:lnTo>
                    <a:pt x="2292" y="453"/>
                  </a:lnTo>
                  <a:lnTo>
                    <a:pt x="2279" y="458"/>
                  </a:lnTo>
                  <a:lnTo>
                    <a:pt x="2273" y="461"/>
                  </a:lnTo>
                  <a:lnTo>
                    <a:pt x="2265" y="464"/>
                  </a:lnTo>
                  <a:lnTo>
                    <a:pt x="2250" y="467"/>
                  </a:lnTo>
                  <a:lnTo>
                    <a:pt x="2243" y="468"/>
                  </a:lnTo>
                  <a:lnTo>
                    <a:pt x="2234" y="469"/>
                  </a:lnTo>
                  <a:lnTo>
                    <a:pt x="2218" y="470"/>
                  </a:lnTo>
                  <a:lnTo>
                    <a:pt x="2208" y="470"/>
                  </a:lnTo>
                  <a:lnTo>
                    <a:pt x="2200" y="469"/>
                  </a:lnTo>
                  <a:lnTo>
                    <a:pt x="2192" y="468"/>
                  </a:lnTo>
                  <a:lnTo>
                    <a:pt x="2183" y="466"/>
                  </a:lnTo>
                  <a:lnTo>
                    <a:pt x="2176" y="464"/>
                  </a:lnTo>
                  <a:lnTo>
                    <a:pt x="2169" y="460"/>
                  </a:lnTo>
                  <a:lnTo>
                    <a:pt x="2162" y="457"/>
                  </a:lnTo>
                  <a:lnTo>
                    <a:pt x="2155" y="453"/>
                  </a:lnTo>
                  <a:lnTo>
                    <a:pt x="2149" y="449"/>
                  </a:lnTo>
                  <a:lnTo>
                    <a:pt x="2144" y="444"/>
                  </a:lnTo>
                  <a:lnTo>
                    <a:pt x="2139" y="439"/>
                  </a:lnTo>
                  <a:lnTo>
                    <a:pt x="2135" y="432"/>
                  </a:lnTo>
                  <a:lnTo>
                    <a:pt x="2131" y="426"/>
                  </a:lnTo>
                  <a:lnTo>
                    <a:pt x="2128" y="419"/>
                  </a:lnTo>
                  <a:lnTo>
                    <a:pt x="2125" y="411"/>
                  </a:lnTo>
                  <a:lnTo>
                    <a:pt x="2123" y="402"/>
                  </a:lnTo>
                  <a:lnTo>
                    <a:pt x="2388" y="402"/>
                  </a:lnTo>
                  <a:lnTo>
                    <a:pt x="2388" y="375"/>
                  </a:lnTo>
                  <a:lnTo>
                    <a:pt x="2387" y="363"/>
                  </a:lnTo>
                  <a:lnTo>
                    <a:pt x="2387" y="351"/>
                  </a:lnTo>
                  <a:lnTo>
                    <a:pt x="2386" y="340"/>
                  </a:lnTo>
                  <a:lnTo>
                    <a:pt x="2384" y="328"/>
                  </a:lnTo>
                  <a:lnTo>
                    <a:pt x="2382" y="318"/>
                  </a:lnTo>
                  <a:lnTo>
                    <a:pt x="2380" y="308"/>
                  </a:lnTo>
                  <a:lnTo>
                    <a:pt x="2378" y="298"/>
                  </a:lnTo>
                  <a:lnTo>
                    <a:pt x="2375" y="288"/>
                  </a:lnTo>
                  <a:lnTo>
                    <a:pt x="2371" y="280"/>
                  </a:lnTo>
                  <a:lnTo>
                    <a:pt x="2367" y="270"/>
                  </a:lnTo>
                  <a:lnTo>
                    <a:pt x="2364" y="262"/>
                  </a:lnTo>
                  <a:lnTo>
                    <a:pt x="2359" y="255"/>
                  </a:lnTo>
                  <a:lnTo>
                    <a:pt x="2355" y="247"/>
                  </a:lnTo>
                  <a:lnTo>
                    <a:pt x="2350" y="240"/>
                  </a:lnTo>
                  <a:lnTo>
                    <a:pt x="2343" y="233"/>
                  </a:lnTo>
                  <a:lnTo>
                    <a:pt x="2338" y="227"/>
                  </a:lnTo>
                  <a:lnTo>
                    <a:pt x="2332" y="221"/>
                  </a:lnTo>
                  <a:lnTo>
                    <a:pt x="2325" y="215"/>
                  </a:lnTo>
                  <a:lnTo>
                    <a:pt x="2318" y="210"/>
                  </a:lnTo>
                  <a:lnTo>
                    <a:pt x="2311" y="206"/>
                  </a:lnTo>
                  <a:lnTo>
                    <a:pt x="2304" y="202"/>
                  </a:lnTo>
                  <a:lnTo>
                    <a:pt x="2297" y="198"/>
                  </a:lnTo>
                  <a:lnTo>
                    <a:pt x="2288" y="193"/>
                  </a:lnTo>
                  <a:lnTo>
                    <a:pt x="2280" y="190"/>
                  </a:lnTo>
                  <a:lnTo>
                    <a:pt x="2272" y="187"/>
                  </a:lnTo>
                  <a:lnTo>
                    <a:pt x="2268" y="186"/>
                  </a:lnTo>
                  <a:lnTo>
                    <a:pt x="2263" y="185"/>
                  </a:lnTo>
                  <a:lnTo>
                    <a:pt x="2254" y="183"/>
                  </a:lnTo>
                  <a:lnTo>
                    <a:pt x="2245" y="181"/>
                  </a:lnTo>
                  <a:lnTo>
                    <a:pt x="2235" y="180"/>
                  </a:lnTo>
                  <a:lnTo>
                    <a:pt x="2225" y="179"/>
                  </a:lnTo>
                  <a:lnTo>
                    <a:pt x="2205" y="179"/>
                  </a:lnTo>
                  <a:close/>
                  <a:moveTo>
                    <a:pt x="1743" y="0"/>
                  </a:moveTo>
                  <a:lnTo>
                    <a:pt x="1622" y="0"/>
                  </a:lnTo>
                  <a:lnTo>
                    <a:pt x="1622" y="558"/>
                  </a:lnTo>
                  <a:lnTo>
                    <a:pt x="1743" y="558"/>
                  </a:lnTo>
                  <a:lnTo>
                    <a:pt x="1743" y="373"/>
                  </a:lnTo>
                  <a:lnTo>
                    <a:pt x="1743" y="362"/>
                  </a:lnTo>
                  <a:lnTo>
                    <a:pt x="1744" y="350"/>
                  </a:lnTo>
                  <a:lnTo>
                    <a:pt x="1746" y="341"/>
                  </a:lnTo>
                  <a:lnTo>
                    <a:pt x="1747" y="336"/>
                  </a:lnTo>
                  <a:lnTo>
                    <a:pt x="1748" y="332"/>
                  </a:lnTo>
                  <a:lnTo>
                    <a:pt x="1751" y="323"/>
                  </a:lnTo>
                  <a:lnTo>
                    <a:pt x="1754" y="316"/>
                  </a:lnTo>
                  <a:lnTo>
                    <a:pt x="1758" y="310"/>
                  </a:lnTo>
                  <a:lnTo>
                    <a:pt x="1762" y="303"/>
                  </a:lnTo>
                  <a:lnTo>
                    <a:pt x="1768" y="299"/>
                  </a:lnTo>
                  <a:lnTo>
                    <a:pt x="1773" y="295"/>
                  </a:lnTo>
                  <a:lnTo>
                    <a:pt x="1779" y="291"/>
                  </a:lnTo>
                  <a:lnTo>
                    <a:pt x="1785" y="288"/>
                  </a:lnTo>
                  <a:lnTo>
                    <a:pt x="1792" y="286"/>
                  </a:lnTo>
                  <a:lnTo>
                    <a:pt x="1799" y="285"/>
                  </a:lnTo>
                  <a:lnTo>
                    <a:pt x="1806" y="284"/>
                  </a:lnTo>
                  <a:lnTo>
                    <a:pt x="1813" y="284"/>
                  </a:lnTo>
                  <a:lnTo>
                    <a:pt x="1822" y="284"/>
                  </a:lnTo>
                  <a:lnTo>
                    <a:pt x="1829" y="285"/>
                  </a:lnTo>
                  <a:lnTo>
                    <a:pt x="1836" y="286"/>
                  </a:lnTo>
                  <a:lnTo>
                    <a:pt x="1842" y="288"/>
                  </a:lnTo>
                  <a:lnTo>
                    <a:pt x="1849" y="291"/>
                  </a:lnTo>
                  <a:lnTo>
                    <a:pt x="1854" y="294"/>
                  </a:lnTo>
                  <a:lnTo>
                    <a:pt x="1859" y="298"/>
                  </a:lnTo>
                  <a:lnTo>
                    <a:pt x="1861" y="300"/>
                  </a:lnTo>
                  <a:lnTo>
                    <a:pt x="1863" y="302"/>
                  </a:lnTo>
                  <a:lnTo>
                    <a:pt x="1867" y="308"/>
                  </a:lnTo>
                  <a:lnTo>
                    <a:pt x="1871" y="314"/>
                  </a:lnTo>
                  <a:lnTo>
                    <a:pt x="1874" y="320"/>
                  </a:lnTo>
                  <a:lnTo>
                    <a:pt x="1877" y="327"/>
                  </a:lnTo>
                  <a:lnTo>
                    <a:pt x="1878" y="336"/>
                  </a:lnTo>
                  <a:lnTo>
                    <a:pt x="1880" y="344"/>
                  </a:lnTo>
                  <a:lnTo>
                    <a:pt x="1880" y="353"/>
                  </a:lnTo>
                  <a:lnTo>
                    <a:pt x="1881" y="364"/>
                  </a:lnTo>
                  <a:lnTo>
                    <a:pt x="1881" y="558"/>
                  </a:lnTo>
                  <a:lnTo>
                    <a:pt x="2001" y="558"/>
                  </a:lnTo>
                  <a:lnTo>
                    <a:pt x="2001" y="329"/>
                  </a:lnTo>
                  <a:lnTo>
                    <a:pt x="2000" y="320"/>
                  </a:lnTo>
                  <a:lnTo>
                    <a:pt x="2000" y="311"/>
                  </a:lnTo>
                  <a:lnTo>
                    <a:pt x="1999" y="301"/>
                  </a:lnTo>
                  <a:lnTo>
                    <a:pt x="1998" y="293"/>
                  </a:lnTo>
                  <a:lnTo>
                    <a:pt x="1996" y="285"/>
                  </a:lnTo>
                  <a:lnTo>
                    <a:pt x="1995" y="276"/>
                  </a:lnTo>
                  <a:lnTo>
                    <a:pt x="1991" y="262"/>
                  </a:lnTo>
                  <a:lnTo>
                    <a:pt x="1988" y="255"/>
                  </a:lnTo>
                  <a:lnTo>
                    <a:pt x="1985" y="247"/>
                  </a:lnTo>
                  <a:lnTo>
                    <a:pt x="1979" y="235"/>
                  </a:lnTo>
                  <a:lnTo>
                    <a:pt x="1976" y="230"/>
                  </a:lnTo>
                  <a:lnTo>
                    <a:pt x="1971" y="225"/>
                  </a:lnTo>
                  <a:lnTo>
                    <a:pt x="1967" y="219"/>
                  </a:lnTo>
                  <a:lnTo>
                    <a:pt x="1962" y="214"/>
                  </a:lnTo>
                  <a:lnTo>
                    <a:pt x="1957" y="210"/>
                  </a:lnTo>
                  <a:lnTo>
                    <a:pt x="1953" y="206"/>
                  </a:lnTo>
                  <a:lnTo>
                    <a:pt x="1941" y="198"/>
                  </a:lnTo>
                  <a:lnTo>
                    <a:pt x="1936" y="194"/>
                  </a:lnTo>
                  <a:lnTo>
                    <a:pt x="1931" y="191"/>
                  </a:lnTo>
                  <a:lnTo>
                    <a:pt x="1918" y="186"/>
                  </a:lnTo>
                  <a:lnTo>
                    <a:pt x="1912" y="184"/>
                  </a:lnTo>
                  <a:lnTo>
                    <a:pt x="1906" y="183"/>
                  </a:lnTo>
                  <a:lnTo>
                    <a:pt x="1891" y="180"/>
                  </a:lnTo>
                  <a:lnTo>
                    <a:pt x="1885" y="179"/>
                  </a:lnTo>
                  <a:lnTo>
                    <a:pt x="1878" y="178"/>
                  </a:lnTo>
                  <a:lnTo>
                    <a:pt x="1862" y="178"/>
                  </a:lnTo>
                  <a:lnTo>
                    <a:pt x="1853" y="178"/>
                  </a:lnTo>
                  <a:lnTo>
                    <a:pt x="1844" y="179"/>
                  </a:lnTo>
                  <a:lnTo>
                    <a:pt x="1834" y="180"/>
                  </a:lnTo>
                  <a:lnTo>
                    <a:pt x="1825" y="182"/>
                  </a:lnTo>
                  <a:lnTo>
                    <a:pt x="1817" y="184"/>
                  </a:lnTo>
                  <a:lnTo>
                    <a:pt x="1808" y="186"/>
                  </a:lnTo>
                  <a:lnTo>
                    <a:pt x="1801" y="189"/>
                  </a:lnTo>
                  <a:lnTo>
                    <a:pt x="1793" y="193"/>
                  </a:lnTo>
                  <a:lnTo>
                    <a:pt x="1785" y="198"/>
                  </a:lnTo>
                  <a:lnTo>
                    <a:pt x="1779" y="202"/>
                  </a:lnTo>
                  <a:lnTo>
                    <a:pt x="1772" y="207"/>
                  </a:lnTo>
                  <a:lnTo>
                    <a:pt x="1766" y="212"/>
                  </a:lnTo>
                  <a:lnTo>
                    <a:pt x="1760" y="218"/>
                  </a:lnTo>
                  <a:lnTo>
                    <a:pt x="1754" y="225"/>
                  </a:lnTo>
                  <a:lnTo>
                    <a:pt x="1744" y="238"/>
                  </a:lnTo>
                  <a:lnTo>
                    <a:pt x="1743" y="238"/>
                  </a:lnTo>
                  <a:lnTo>
                    <a:pt x="1743" y="0"/>
                  </a:lnTo>
                  <a:close/>
                  <a:moveTo>
                    <a:pt x="1611" y="290"/>
                  </a:moveTo>
                  <a:lnTo>
                    <a:pt x="1611" y="189"/>
                  </a:lnTo>
                  <a:lnTo>
                    <a:pt x="1535" y="189"/>
                  </a:lnTo>
                  <a:lnTo>
                    <a:pt x="1535" y="42"/>
                  </a:lnTo>
                  <a:lnTo>
                    <a:pt x="1414" y="42"/>
                  </a:lnTo>
                  <a:lnTo>
                    <a:pt x="1414" y="189"/>
                  </a:lnTo>
                  <a:lnTo>
                    <a:pt x="1343" y="189"/>
                  </a:lnTo>
                  <a:lnTo>
                    <a:pt x="1343" y="290"/>
                  </a:lnTo>
                  <a:lnTo>
                    <a:pt x="1414" y="290"/>
                  </a:lnTo>
                  <a:lnTo>
                    <a:pt x="1414" y="433"/>
                  </a:lnTo>
                  <a:lnTo>
                    <a:pt x="1414" y="442"/>
                  </a:lnTo>
                  <a:lnTo>
                    <a:pt x="1415" y="450"/>
                  </a:lnTo>
                  <a:lnTo>
                    <a:pt x="1417" y="465"/>
                  </a:lnTo>
                  <a:lnTo>
                    <a:pt x="1420" y="478"/>
                  </a:lnTo>
                  <a:lnTo>
                    <a:pt x="1424" y="491"/>
                  </a:lnTo>
                  <a:lnTo>
                    <a:pt x="1426" y="497"/>
                  </a:lnTo>
                  <a:lnTo>
                    <a:pt x="1428" y="502"/>
                  </a:lnTo>
                  <a:lnTo>
                    <a:pt x="1434" y="512"/>
                  </a:lnTo>
                  <a:lnTo>
                    <a:pt x="1440" y="521"/>
                  </a:lnTo>
                  <a:lnTo>
                    <a:pt x="1444" y="525"/>
                  </a:lnTo>
                  <a:lnTo>
                    <a:pt x="1449" y="529"/>
                  </a:lnTo>
                  <a:lnTo>
                    <a:pt x="1457" y="536"/>
                  </a:lnTo>
                  <a:lnTo>
                    <a:pt x="1466" y="541"/>
                  </a:lnTo>
                  <a:lnTo>
                    <a:pt x="1472" y="545"/>
                  </a:lnTo>
                  <a:lnTo>
                    <a:pt x="1477" y="547"/>
                  </a:lnTo>
                  <a:lnTo>
                    <a:pt x="1487" y="551"/>
                  </a:lnTo>
                  <a:lnTo>
                    <a:pt x="1493" y="553"/>
                  </a:lnTo>
                  <a:lnTo>
                    <a:pt x="1499" y="554"/>
                  </a:lnTo>
                  <a:lnTo>
                    <a:pt x="1511" y="556"/>
                  </a:lnTo>
                  <a:lnTo>
                    <a:pt x="1525" y="558"/>
                  </a:lnTo>
                  <a:lnTo>
                    <a:pt x="1538" y="558"/>
                  </a:lnTo>
                  <a:lnTo>
                    <a:pt x="1589" y="558"/>
                  </a:lnTo>
                  <a:lnTo>
                    <a:pt x="1589" y="447"/>
                  </a:lnTo>
                  <a:lnTo>
                    <a:pt x="1575" y="447"/>
                  </a:lnTo>
                  <a:lnTo>
                    <a:pt x="1569" y="447"/>
                  </a:lnTo>
                  <a:lnTo>
                    <a:pt x="1564" y="446"/>
                  </a:lnTo>
                  <a:lnTo>
                    <a:pt x="1560" y="445"/>
                  </a:lnTo>
                  <a:lnTo>
                    <a:pt x="1556" y="444"/>
                  </a:lnTo>
                  <a:lnTo>
                    <a:pt x="1552" y="443"/>
                  </a:lnTo>
                  <a:lnTo>
                    <a:pt x="1548" y="441"/>
                  </a:lnTo>
                  <a:lnTo>
                    <a:pt x="1545" y="439"/>
                  </a:lnTo>
                  <a:lnTo>
                    <a:pt x="1543" y="436"/>
                  </a:lnTo>
                  <a:lnTo>
                    <a:pt x="1541" y="433"/>
                  </a:lnTo>
                  <a:lnTo>
                    <a:pt x="1539" y="430"/>
                  </a:lnTo>
                  <a:lnTo>
                    <a:pt x="1538" y="427"/>
                  </a:lnTo>
                  <a:lnTo>
                    <a:pt x="1537" y="423"/>
                  </a:lnTo>
                  <a:lnTo>
                    <a:pt x="1536" y="418"/>
                  </a:lnTo>
                  <a:lnTo>
                    <a:pt x="1535" y="413"/>
                  </a:lnTo>
                  <a:lnTo>
                    <a:pt x="1535" y="407"/>
                  </a:lnTo>
                  <a:lnTo>
                    <a:pt x="1535" y="401"/>
                  </a:lnTo>
                  <a:lnTo>
                    <a:pt x="1535" y="290"/>
                  </a:lnTo>
                  <a:lnTo>
                    <a:pt x="1611" y="290"/>
                  </a:lnTo>
                  <a:close/>
                  <a:moveTo>
                    <a:pt x="1033" y="178"/>
                  </a:moveTo>
                  <a:lnTo>
                    <a:pt x="1023" y="178"/>
                  </a:lnTo>
                  <a:lnTo>
                    <a:pt x="1013" y="179"/>
                  </a:lnTo>
                  <a:lnTo>
                    <a:pt x="1004" y="180"/>
                  </a:lnTo>
                  <a:lnTo>
                    <a:pt x="996" y="182"/>
                  </a:lnTo>
                  <a:lnTo>
                    <a:pt x="987" y="185"/>
                  </a:lnTo>
                  <a:lnTo>
                    <a:pt x="983" y="186"/>
                  </a:lnTo>
                  <a:lnTo>
                    <a:pt x="979" y="187"/>
                  </a:lnTo>
                  <a:lnTo>
                    <a:pt x="971" y="191"/>
                  </a:lnTo>
                  <a:lnTo>
                    <a:pt x="962" y="195"/>
                  </a:lnTo>
                  <a:lnTo>
                    <a:pt x="955" y="200"/>
                  </a:lnTo>
                  <a:lnTo>
                    <a:pt x="948" y="205"/>
                  </a:lnTo>
                  <a:lnTo>
                    <a:pt x="940" y="211"/>
                  </a:lnTo>
                  <a:lnTo>
                    <a:pt x="934" y="216"/>
                  </a:lnTo>
                  <a:lnTo>
                    <a:pt x="928" y="223"/>
                  </a:lnTo>
                  <a:lnTo>
                    <a:pt x="923" y="230"/>
                  </a:lnTo>
                  <a:lnTo>
                    <a:pt x="917" y="237"/>
                  </a:lnTo>
                  <a:lnTo>
                    <a:pt x="912" y="245"/>
                  </a:lnTo>
                  <a:lnTo>
                    <a:pt x="910" y="245"/>
                  </a:lnTo>
                  <a:lnTo>
                    <a:pt x="910" y="189"/>
                  </a:lnTo>
                  <a:lnTo>
                    <a:pt x="793" y="189"/>
                  </a:lnTo>
                  <a:lnTo>
                    <a:pt x="793" y="558"/>
                  </a:lnTo>
                  <a:lnTo>
                    <a:pt x="912" y="558"/>
                  </a:lnTo>
                  <a:lnTo>
                    <a:pt x="912" y="373"/>
                  </a:lnTo>
                  <a:lnTo>
                    <a:pt x="913" y="362"/>
                  </a:lnTo>
                  <a:lnTo>
                    <a:pt x="914" y="350"/>
                  </a:lnTo>
                  <a:lnTo>
                    <a:pt x="916" y="341"/>
                  </a:lnTo>
                  <a:lnTo>
                    <a:pt x="917" y="336"/>
                  </a:lnTo>
                  <a:lnTo>
                    <a:pt x="919" y="332"/>
                  </a:lnTo>
                  <a:lnTo>
                    <a:pt x="921" y="323"/>
                  </a:lnTo>
                  <a:lnTo>
                    <a:pt x="925" y="316"/>
                  </a:lnTo>
                  <a:lnTo>
                    <a:pt x="928" y="310"/>
                  </a:lnTo>
                  <a:lnTo>
                    <a:pt x="933" y="303"/>
                  </a:lnTo>
                  <a:lnTo>
                    <a:pt x="938" y="299"/>
                  </a:lnTo>
                  <a:lnTo>
                    <a:pt x="944" y="295"/>
                  </a:lnTo>
                  <a:lnTo>
                    <a:pt x="950" y="291"/>
                  </a:lnTo>
                  <a:lnTo>
                    <a:pt x="956" y="288"/>
                  </a:lnTo>
                  <a:lnTo>
                    <a:pt x="962" y="286"/>
                  </a:lnTo>
                  <a:lnTo>
                    <a:pt x="969" y="285"/>
                  </a:lnTo>
                  <a:lnTo>
                    <a:pt x="976" y="284"/>
                  </a:lnTo>
                  <a:lnTo>
                    <a:pt x="984" y="284"/>
                  </a:lnTo>
                  <a:lnTo>
                    <a:pt x="992" y="284"/>
                  </a:lnTo>
                  <a:lnTo>
                    <a:pt x="1000" y="285"/>
                  </a:lnTo>
                  <a:lnTo>
                    <a:pt x="1003" y="286"/>
                  </a:lnTo>
                  <a:lnTo>
                    <a:pt x="1007" y="286"/>
                  </a:lnTo>
                  <a:lnTo>
                    <a:pt x="1013" y="288"/>
                  </a:lnTo>
                  <a:lnTo>
                    <a:pt x="1019" y="291"/>
                  </a:lnTo>
                  <a:lnTo>
                    <a:pt x="1025" y="294"/>
                  </a:lnTo>
                  <a:lnTo>
                    <a:pt x="1030" y="298"/>
                  </a:lnTo>
                  <a:lnTo>
                    <a:pt x="1032" y="300"/>
                  </a:lnTo>
                  <a:lnTo>
                    <a:pt x="1035" y="302"/>
                  </a:lnTo>
                  <a:lnTo>
                    <a:pt x="1038" y="308"/>
                  </a:lnTo>
                  <a:lnTo>
                    <a:pt x="1042" y="314"/>
                  </a:lnTo>
                  <a:lnTo>
                    <a:pt x="1045" y="320"/>
                  </a:lnTo>
                  <a:lnTo>
                    <a:pt x="1046" y="324"/>
                  </a:lnTo>
                  <a:lnTo>
                    <a:pt x="1048" y="327"/>
                  </a:lnTo>
                  <a:lnTo>
                    <a:pt x="1050" y="336"/>
                  </a:lnTo>
                  <a:lnTo>
                    <a:pt x="1051" y="344"/>
                  </a:lnTo>
                  <a:lnTo>
                    <a:pt x="1052" y="353"/>
                  </a:lnTo>
                  <a:lnTo>
                    <a:pt x="1052" y="364"/>
                  </a:lnTo>
                  <a:lnTo>
                    <a:pt x="1052" y="558"/>
                  </a:lnTo>
                  <a:lnTo>
                    <a:pt x="1171" y="558"/>
                  </a:lnTo>
                  <a:lnTo>
                    <a:pt x="1171" y="329"/>
                  </a:lnTo>
                  <a:lnTo>
                    <a:pt x="1171" y="320"/>
                  </a:lnTo>
                  <a:lnTo>
                    <a:pt x="1170" y="311"/>
                  </a:lnTo>
                  <a:lnTo>
                    <a:pt x="1170" y="301"/>
                  </a:lnTo>
                  <a:lnTo>
                    <a:pt x="1169" y="293"/>
                  </a:lnTo>
                  <a:lnTo>
                    <a:pt x="1167" y="285"/>
                  </a:lnTo>
                  <a:lnTo>
                    <a:pt x="1165" y="276"/>
                  </a:lnTo>
                  <a:lnTo>
                    <a:pt x="1161" y="262"/>
                  </a:lnTo>
                  <a:lnTo>
                    <a:pt x="1159" y="255"/>
                  </a:lnTo>
                  <a:lnTo>
                    <a:pt x="1156" y="247"/>
                  </a:lnTo>
                  <a:lnTo>
                    <a:pt x="1149" y="235"/>
                  </a:lnTo>
                  <a:lnTo>
                    <a:pt x="1145" y="230"/>
                  </a:lnTo>
                  <a:lnTo>
                    <a:pt x="1141" y="225"/>
                  </a:lnTo>
                  <a:lnTo>
                    <a:pt x="1137" y="219"/>
                  </a:lnTo>
                  <a:lnTo>
                    <a:pt x="1133" y="214"/>
                  </a:lnTo>
                  <a:lnTo>
                    <a:pt x="1128" y="210"/>
                  </a:lnTo>
                  <a:lnTo>
                    <a:pt x="1122" y="206"/>
                  </a:lnTo>
                  <a:lnTo>
                    <a:pt x="1112" y="198"/>
                  </a:lnTo>
                  <a:lnTo>
                    <a:pt x="1107" y="194"/>
                  </a:lnTo>
                  <a:lnTo>
                    <a:pt x="1101" y="191"/>
                  </a:lnTo>
                  <a:lnTo>
                    <a:pt x="1089" y="186"/>
                  </a:lnTo>
                  <a:lnTo>
                    <a:pt x="1082" y="184"/>
                  </a:lnTo>
                  <a:lnTo>
                    <a:pt x="1076" y="183"/>
                  </a:lnTo>
                  <a:lnTo>
                    <a:pt x="1062" y="180"/>
                  </a:lnTo>
                  <a:lnTo>
                    <a:pt x="1055" y="179"/>
                  </a:lnTo>
                  <a:lnTo>
                    <a:pt x="1048" y="178"/>
                  </a:lnTo>
                  <a:lnTo>
                    <a:pt x="1033" y="178"/>
                  </a:lnTo>
                  <a:close/>
                  <a:moveTo>
                    <a:pt x="638" y="558"/>
                  </a:moveTo>
                  <a:lnTo>
                    <a:pt x="758" y="558"/>
                  </a:lnTo>
                  <a:lnTo>
                    <a:pt x="758" y="189"/>
                  </a:lnTo>
                  <a:lnTo>
                    <a:pt x="638" y="189"/>
                  </a:lnTo>
                  <a:lnTo>
                    <a:pt x="638" y="558"/>
                  </a:lnTo>
                  <a:close/>
                  <a:moveTo>
                    <a:pt x="762" y="0"/>
                  </a:moveTo>
                  <a:lnTo>
                    <a:pt x="633" y="0"/>
                  </a:lnTo>
                  <a:lnTo>
                    <a:pt x="633" y="122"/>
                  </a:lnTo>
                  <a:lnTo>
                    <a:pt x="762" y="122"/>
                  </a:lnTo>
                  <a:lnTo>
                    <a:pt x="762" y="0"/>
                  </a:lnTo>
                  <a:close/>
                  <a:moveTo>
                    <a:pt x="417" y="288"/>
                  </a:moveTo>
                  <a:lnTo>
                    <a:pt x="425" y="288"/>
                  </a:lnTo>
                  <a:lnTo>
                    <a:pt x="434" y="289"/>
                  </a:lnTo>
                  <a:lnTo>
                    <a:pt x="443" y="291"/>
                  </a:lnTo>
                  <a:lnTo>
                    <a:pt x="450" y="293"/>
                  </a:lnTo>
                  <a:lnTo>
                    <a:pt x="458" y="297"/>
                  </a:lnTo>
                  <a:lnTo>
                    <a:pt x="465" y="300"/>
                  </a:lnTo>
                  <a:lnTo>
                    <a:pt x="472" y="306"/>
                  </a:lnTo>
                  <a:lnTo>
                    <a:pt x="478" y="311"/>
                  </a:lnTo>
                  <a:lnTo>
                    <a:pt x="483" y="317"/>
                  </a:lnTo>
                  <a:lnTo>
                    <a:pt x="488" y="323"/>
                  </a:lnTo>
                  <a:lnTo>
                    <a:pt x="493" y="331"/>
                  </a:lnTo>
                  <a:lnTo>
                    <a:pt x="496" y="338"/>
                  </a:lnTo>
                  <a:lnTo>
                    <a:pt x="499" y="346"/>
                  </a:lnTo>
                  <a:lnTo>
                    <a:pt x="501" y="354"/>
                  </a:lnTo>
                  <a:lnTo>
                    <a:pt x="502" y="364"/>
                  </a:lnTo>
                  <a:lnTo>
                    <a:pt x="503" y="374"/>
                  </a:lnTo>
                  <a:lnTo>
                    <a:pt x="502" y="383"/>
                  </a:lnTo>
                  <a:lnTo>
                    <a:pt x="501" y="393"/>
                  </a:lnTo>
                  <a:lnTo>
                    <a:pt x="499" y="401"/>
                  </a:lnTo>
                  <a:lnTo>
                    <a:pt x="496" y="409"/>
                  </a:lnTo>
                  <a:lnTo>
                    <a:pt x="493" y="417"/>
                  </a:lnTo>
                  <a:lnTo>
                    <a:pt x="488" y="424"/>
                  </a:lnTo>
                  <a:lnTo>
                    <a:pt x="483" y="430"/>
                  </a:lnTo>
                  <a:lnTo>
                    <a:pt x="478" y="436"/>
                  </a:lnTo>
                  <a:lnTo>
                    <a:pt x="472" y="442"/>
                  </a:lnTo>
                  <a:lnTo>
                    <a:pt x="465" y="447"/>
                  </a:lnTo>
                  <a:lnTo>
                    <a:pt x="458" y="451"/>
                  </a:lnTo>
                  <a:lnTo>
                    <a:pt x="450" y="454"/>
                  </a:lnTo>
                  <a:lnTo>
                    <a:pt x="443" y="456"/>
                  </a:lnTo>
                  <a:lnTo>
                    <a:pt x="434" y="458"/>
                  </a:lnTo>
                  <a:lnTo>
                    <a:pt x="425" y="459"/>
                  </a:lnTo>
                  <a:lnTo>
                    <a:pt x="417" y="460"/>
                  </a:lnTo>
                  <a:lnTo>
                    <a:pt x="407" y="459"/>
                  </a:lnTo>
                  <a:lnTo>
                    <a:pt x="399" y="458"/>
                  </a:lnTo>
                  <a:lnTo>
                    <a:pt x="391" y="456"/>
                  </a:lnTo>
                  <a:lnTo>
                    <a:pt x="382" y="454"/>
                  </a:lnTo>
                  <a:lnTo>
                    <a:pt x="375" y="451"/>
                  </a:lnTo>
                  <a:lnTo>
                    <a:pt x="368" y="447"/>
                  </a:lnTo>
                  <a:lnTo>
                    <a:pt x="362" y="442"/>
                  </a:lnTo>
                  <a:lnTo>
                    <a:pt x="355" y="436"/>
                  </a:lnTo>
                  <a:lnTo>
                    <a:pt x="349" y="430"/>
                  </a:lnTo>
                  <a:lnTo>
                    <a:pt x="345" y="424"/>
                  </a:lnTo>
                  <a:lnTo>
                    <a:pt x="341" y="417"/>
                  </a:lnTo>
                  <a:lnTo>
                    <a:pt x="337" y="409"/>
                  </a:lnTo>
                  <a:lnTo>
                    <a:pt x="335" y="401"/>
                  </a:lnTo>
                  <a:lnTo>
                    <a:pt x="333" y="393"/>
                  </a:lnTo>
                  <a:lnTo>
                    <a:pt x="330" y="383"/>
                  </a:lnTo>
                  <a:lnTo>
                    <a:pt x="330" y="374"/>
                  </a:lnTo>
                  <a:lnTo>
                    <a:pt x="330" y="364"/>
                  </a:lnTo>
                  <a:lnTo>
                    <a:pt x="333" y="354"/>
                  </a:lnTo>
                  <a:lnTo>
                    <a:pt x="335" y="346"/>
                  </a:lnTo>
                  <a:lnTo>
                    <a:pt x="337" y="338"/>
                  </a:lnTo>
                  <a:lnTo>
                    <a:pt x="341" y="331"/>
                  </a:lnTo>
                  <a:lnTo>
                    <a:pt x="345" y="323"/>
                  </a:lnTo>
                  <a:lnTo>
                    <a:pt x="349" y="317"/>
                  </a:lnTo>
                  <a:lnTo>
                    <a:pt x="355" y="311"/>
                  </a:lnTo>
                  <a:lnTo>
                    <a:pt x="362" y="306"/>
                  </a:lnTo>
                  <a:lnTo>
                    <a:pt x="368" y="300"/>
                  </a:lnTo>
                  <a:lnTo>
                    <a:pt x="375" y="297"/>
                  </a:lnTo>
                  <a:lnTo>
                    <a:pt x="382" y="293"/>
                  </a:lnTo>
                  <a:lnTo>
                    <a:pt x="391" y="291"/>
                  </a:lnTo>
                  <a:lnTo>
                    <a:pt x="399" y="289"/>
                  </a:lnTo>
                  <a:lnTo>
                    <a:pt x="407" y="288"/>
                  </a:lnTo>
                  <a:lnTo>
                    <a:pt x="417" y="288"/>
                  </a:lnTo>
                  <a:close/>
                  <a:moveTo>
                    <a:pt x="417" y="178"/>
                  </a:moveTo>
                  <a:lnTo>
                    <a:pt x="405" y="178"/>
                  </a:lnTo>
                  <a:lnTo>
                    <a:pt x="394" y="179"/>
                  </a:lnTo>
                  <a:lnTo>
                    <a:pt x="383" y="180"/>
                  </a:lnTo>
                  <a:lnTo>
                    <a:pt x="373" y="181"/>
                  </a:lnTo>
                  <a:lnTo>
                    <a:pt x="363" y="183"/>
                  </a:lnTo>
                  <a:lnTo>
                    <a:pt x="353" y="186"/>
                  </a:lnTo>
                  <a:lnTo>
                    <a:pt x="343" y="188"/>
                  </a:lnTo>
                  <a:lnTo>
                    <a:pt x="334" y="191"/>
                  </a:lnTo>
                  <a:lnTo>
                    <a:pt x="325" y="195"/>
                  </a:lnTo>
                  <a:lnTo>
                    <a:pt x="316" y="200"/>
                  </a:lnTo>
                  <a:lnTo>
                    <a:pt x="308" y="204"/>
                  </a:lnTo>
                  <a:lnTo>
                    <a:pt x="299" y="208"/>
                  </a:lnTo>
                  <a:lnTo>
                    <a:pt x="284" y="219"/>
                  </a:lnTo>
                  <a:lnTo>
                    <a:pt x="275" y="225"/>
                  </a:lnTo>
                  <a:lnTo>
                    <a:pt x="268" y="232"/>
                  </a:lnTo>
                  <a:lnTo>
                    <a:pt x="262" y="238"/>
                  </a:lnTo>
                  <a:lnTo>
                    <a:pt x="255" y="245"/>
                  </a:lnTo>
                  <a:lnTo>
                    <a:pt x="249" y="253"/>
                  </a:lnTo>
                  <a:lnTo>
                    <a:pt x="243" y="260"/>
                  </a:lnTo>
                  <a:lnTo>
                    <a:pt x="238" y="268"/>
                  </a:lnTo>
                  <a:lnTo>
                    <a:pt x="234" y="276"/>
                  </a:lnTo>
                  <a:lnTo>
                    <a:pt x="230" y="285"/>
                  </a:lnTo>
                  <a:lnTo>
                    <a:pt x="226" y="293"/>
                  </a:lnTo>
                  <a:lnTo>
                    <a:pt x="221" y="302"/>
                  </a:lnTo>
                  <a:lnTo>
                    <a:pt x="219" y="312"/>
                  </a:lnTo>
                  <a:lnTo>
                    <a:pt x="216" y="321"/>
                  </a:lnTo>
                  <a:lnTo>
                    <a:pt x="214" y="332"/>
                  </a:lnTo>
                  <a:lnTo>
                    <a:pt x="212" y="341"/>
                  </a:lnTo>
                  <a:lnTo>
                    <a:pt x="211" y="352"/>
                  </a:lnTo>
                  <a:lnTo>
                    <a:pt x="210" y="363"/>
                  </a:lnTo>
                  <a:lnTo>
                    <a:pt x="210" y="374"/>
                  </a:lnTo>
                  <a:lnTo>
                    <a:pt x="210" y="385"/>
                  </a:lnTo>
                  <a:lnTo>
                    <a:pt x="211" y="396"/>
                  </a:lnTo>
                  <a:lnTo>
                    <a:pt x="212" y="406"/>
                  </a:lnTo>
                  <a:lnTo>
                    <a:pt x="214" y="417"/>
                  </a:lnTo>
                  <a:lnTo>
                    <a:pt x="216" y="426"/>
                  </a:lnTo>
                  <a:lnTo>
                    <a:pt x="219" y="435"/>
                  </a:lnTo>
                  <a:lnTo>
                    <a:pt x="221" y="445"/>
                  </a:lnTo>
                  <a:lnTo>
                    <a:pt x="226" y="454"/>
                  </a:lnTo>
                  <a:lnTo>
                    <a:pt x="230" y="464"/>
                  </a:lnTo>
                  <a:lnTo>
                    <a:pt x="234" y="472"/>
                  </a:lnTo>
                  <a:lnTo>
                    <a:pt x="238" y="480"/>
                  </a:lnTo>
                  <a:lnTo>
                    <a:pt x="243" y="487"/>
                  </a:lnTo>
                  <a:lnTo>
                    <a:pt x="249" y="495"/>
                  </a:lnTo>
                  <a:lnTo>
                    <a:pt x="255" y="502"/>
                  </a:lnTo>
                  <a:lnTo>
                    <a:pt x="262" y="509"/>
                  </a:lnTo>
                  <a:lnTo>
                    <a:pt x="268" y="516"/>
                  </a:lnTo>
                  <a:lnTo>
                    <a:pt x="275" y="523"/>
                  </a:lnTo>
                  <a:lnTo>
                    <a:pt x="284" y="529"/>
                  </a:lnTo>
                  <a:lnTo>
                    <a:pt x="291" y="534"/>
                  </a:lnTo>
                  <a:lnTo>
                    <a:pt x="299" y="539"/>
                  </a:lnTo>
                  <a:lnTo>
                    <a:pt x="308" y="545"/>
                  </a:lnTo>
                  <a:lnTo>
                    <a:pt x="316" y="549"/>
                  </a:lnTo>
                  <a:lnTo>
                    <a:pt x="325" y="553"/>
                  </a:lnTo>
                  <a:lnTo>
                    <a:pt x="334" y="556"/>
                  </a:lnTo>
                  <a:lnTo>
                    <a:pt x="343" y="559"/>
                  </a:lnTo>
                  <a:lnTo>
                    <a:pt x="353" y="562"/>
                  </a:lnTo>
                  <a:lnTo>
                    <a:pt x="363" y="564"/>
                  </a:lnTo>
                  <a:lnTo>
                    <a:pt x="373" y="566"/>
                  </a:lnTo>
                  <a:lnTo>
                    <a:pt x="383" y="567"/>
                  </a:lnTo>
                  <a:lnTo>
                    <a:pt x="394" y="568"/>
                  </a:lnTo>
                  <a:lnTo>
                    <a:pt x="405" y="569"/>
                  </a:lnTo>
                  <a:lnTo>
                    <a:pt x="417" y="571"/>
                  </a:lnTo>
                  <a:lnTo>
                    <a:pt x="428" y="569"/>
                  </a:lnTo>
                  <a:lnTo>
                    <a:pt x="439" y="568"/>
                  </a:lnTo>
                  <a:lnTo>
                    <a:pt x="450" y="567"/>
                  </a:lnTo>
                  <a:lnTo>
                    <a:pt x="460" y="566"/>
                  </a:lnTo>
                  <a:lnTo>
                    <a:pt x="471" y="564"/>
                  </a:lnTo>
                  <a:lnTo>
                    <a:pt x="480" y="562"/>
                  </a:lnTo>
                  <a:lnTo>
                    <a:pt x="489" y="559"/>
                  </a:lnTo>
                  <a:lnTo>
                    <a:pt x="499" y="556"/>
                  </a:lnTo>
                  <a:lnTo>
                    <a:pt x="508" y="553"/>
                  </a:lnTo>
                  <a:lnTo>
                    <a:pt x="518" y="549"/>
                  </a:lnTo>
                  <a:lnTo>
                    <a:pt x="526" y="545"/>
                  </a:lnTo>
                  <a:lnTo>
                    <a:pt x="534" y="539"/>
                  </a:lnTo>
                  <a:lnTo>
                    <a:pt x="550" y="529"/>
                  </a:lnTo>
                  <a:lnTo>
                    <a:pt x="558" y="523"/>
                  </a:lnTo>
                  <a:lnTo>
                    <a:pt x="565" y="516"/>
                  </a:lnTo>
                  <a:lnTo>
                    <a:pt x="572" y="509"/>
                  </a:lnTo>
                  <a:lnTo>
                    <a:pt x="579" y="502"/>
                  </a:lnTo>
                  <a:lnTo>
                    <a:pt x="584" y="495"/>
                  </a:lnTo>
                  <a:lnTo>
                    <a:pt x="590" y="487"/>
                  </a:lnTo>
                  <a:lnTo>
                    <a:pt x="595" y="480"/>
                  </a:lnTo>
                  <a:lnTo>
                    <a:pt x="600" y="472"/>
                  </a:lnTo>
                  <a:lnTo>
                    <a:pt x="605" y="464"/>
                  </a:lnTo>
                  <a:lnTo>
                    <a:pt x="608" y="454"/>
                  </a:lnTo>
                  <a:lnTo>
                    <a:pt x="612" y="445"/>
                  </a:lnTo>
                  <a:lnTo>
                    <a:pt x="615" y="435"/>
                  </a:lnTo>
                  <a:lnTo>
                    <a:pt x="617" y="426"/>
                  </a:lnTo>
                  <a:lnTo>
                    <a:pt x="619" y="417"/>
                  </a:lnTo>
                  <a:lnTo>
                    <a:pt x="621" y="406"/>
                  </a:lnTo>
                  <a:lnTo>
                    <a:pt x="622" y="396"/>
                  </a:lnTo>
                  <a:lnTo>
                    <a:pt x="624" y="385"/>
                  </a:lnTo>
                  <a:lnTo>
                    <a:pt x="624" y="374"/>
                  </a:lnTo>
                  <a:lnTo>
                    <a:pt x="624" y="363"/>
                  </a:lnTo>
                  <a:lnTo>
                    <a:pt x="622" y="352"/>
                  </a:lnTo>
                  <a:lnTo>
                    <a:pt x="621" y="341"/>
                  </a:lnTo>
                  <a:lnTo>
                    <a:pt x="619" y="332"/>
                  </a:lnTo>
                  <a:lnTo>
                    <a:pt x="617" y="321"/>
                  </a:lnTo>
                  <a:lnTo>
                    <a:pt x="615" y="312"/>
                  </a:lnTo>
                  <a:lnTo>
                    <a:pt x="612" y="302"/>
                  </a:lnTo>
                  <a:lnTo>
                    <a:pt x="608" y="293"/>
                  </a:lnTo>
                  <a:lnTo>
                    <a:pt x="605" y="285"/>
                  </a:lnTo>
                  <a:lnTo>
                    <a:pt x="600" y="276"/>
                  </a:lnTo>
                  <a:lnTo>
                    <a:pt x="595" y="268"/>
                  </a:lnTo>
                  <a:lnTo>
                    <a:pt x="590" y="260"/>
                  </a:lnTo>
                  <a:lnTo>
                    <a:pt x="584" y="253"/>
                  </a:lnTo>
                  <a:lnTo>
                    <a:pt x="579" y="245"/>
                  </a:lnTo>
                  <a:lnTo>
                    <a:pt x="572" y="238"/>
                  </a:lnTo>
                  <a:lnTo>
                    <a:pt x="565" y="232"/>
                  </a:lnTo>
                  <a:lnTo>
                    <a:pt x="558" y="225"/>
                  </a:lnTo>
                  <a:lnTo>
                    <a:pt x="550" y="219"/>
                  </a:lnTo>
                  <a:lnTo>
                    <a:pt x="542" y="213"/>
                  </a:lnTo>
                  <a:lnTo>
                    <a:pt x="534" y="208"/>
                  </a:lnTo>
                  <a:lnTo>
                    <a:pt x="526" y="204"/>
                  </a:lnTo>
                  <a:lnTo>
                    <a:pt x="518" y="200"/>
                  </a:lnTo>
                  <a:lnTo>
                    <a:pt x="508" y="195"/>
                  </a:lnTo>
                  <a:lnTo>
                    <a:pt x="499" y="191"/>
                  </a:lnTo>
                  <a:lnTo>
                    <a:pt x="489" y="188"/>
                  </a:lnTo>
                  <a:lnTo>
                    <a:pt x="480" y="186"/>
                  </a:lnTo>
                  <a:lnTo>
                    <a:pt x="471" y="183"/>
                  </a:lnTo>
                  <a:lnTo>
                    <a:pt x="460" y="181"/>
                  </a:lnTo>
                  <a:lnTo>
                    <a:pt x="450" y="180"/>
                  </a:lnTo>
                  <a:lnTo>
                    <a:pt x="439" y="179"/>
                  </a:lnTo>
                  <a:lnTo>
                    <a:pt x="428" y="178"/>
                  </a:lnTo>
                  <a:lnTo>
                    <a:pt x="417" y="178"/>
                  </a:lnTo>
                  <a:close/>
                  <a:moveTo>
                    <a:pt x="184" y="0"/>
                  </a:moveTo>
                  <a:lnTo>
                    <a:pt x="60" y="0"/>
                  </a:lnTo>
                  <a:lnTo>
                    <a:pt x="60" y="405"/>
                  </a:lnTo>
                  <a:lnTo>
                    <a:pt x="59" y="415"/>
                  </a:lnTo>
                  <a:lnTo>
                    <a:pt x="58" y="419"/>
                  </a:lnTo>
                  <a:lnTo>
                    <a:pt x="58" y="423"/>
                  </a:lnTo>
                  <a:lnTo>
                    <a:pt x="56" y="426"/>
                  </a:lnTo>
                  <a:lnTo>
                    <a:pt x="55" y="429"/>
                  </a:lnTo>
                  <a:lnTo>
                    <a:pt x="53" y="432"/>
                  </a:lnTo>
                  <a:lnTo>
                    <a:pt x="51" y="435"/>
                  </a:lnTo>
                  <a:lnTo>
                    <a:pt x="47" y="440"/>
                  </a:lnTo>
                  <a:lnTo>
                    <a:pt x="41" y="443"/>
                  </a:lnTo>
                  <a:lnTo>
                    <a:pt x="34" y="444"/>
                  </a:lnTo>
                  <a:lnTo>
                    <a:pt x="31" y="445"/>
                  </a:lnTo>
                  <a:lnTo>
                    <a:pt x="27" y="445"/>
                  </a:lnTo>
                  <a:lnTo>
                    <a:pt x="0" y="445"/>
                  </a:lnTo>
                  <a:lnTo>
                    <a:pt x="0" y="560"/>
                  </a:lnTo>
                  <a:lnTo>
                    <a:pt x="41" y="560"/>
                  </a:lnTo>
                  <a:lnTo>
                    <a:pt x="57" y="560"/>
                  </a:lnTo>
                  <a:lnTo>
                    <a:pt x="67" y="559"/>
                  </a:lnTo>
                  <a:lnTo>
                    <a:pt x="74" y="558"/>
                  </a:lnTo>
                  <a:lnTo>
                    <a:pt x="89" y="556"/>
                  </a:lnTo>
                  <a:lnTo>
                    <a:pt x="97" y="554"/>
                  </a:lnTo>
                  <a:lnTo>
                    <a:pt x="104" y="552"/>
                  </a:lnTo>
                  <a:lnTo>
                    <a:pt x="116" y="547"/>
                  </a:lnTo>
                  <a:lnTo>
                    <a:pt x="128" y="541"/>
                  </a:lnTo>
                  <a:lnTo>
                    <a:pt x="134" y="537"/>
                  </a:lnTo>
                  <a:lnTo>
                    <a:pt x="139" y="534"/>
                  </a:lnTo>
                  <a:lnTo>
                    <a:pt x="143" y="530"/>
                  </a:lnTo>
                  <a:lnTo>
                    <a:pt x="149" y="526"/>
                  </a:lnTo>
                  <a:lnTo>
                    <a:pt x="153" y="522"/>
                  </a:lnTo>
                  <a:lnTo>
                    <a:pt x="157" y="516"/>
                  </a:lnTo>
                  <a:lnTo>
                    <a:pt x="164" y="506"/>
                  </a:lnTo>
                  <a:lnTo>
                    <a:pt x="167" y="500"/>
                  </a:lnTo>
                  <a:lnTo>
                    <a:pt x="169" y="494"/>
                  </a:lnTo>
                  <a:lnTo>
                    <a:pt x="175" y="481"/>
                  </a:lnTo>
                  <a:lnTo>
                    <a:pt x="177" y="474"/>
                  </a:lnTo>
                  <a:lnTo>
                    <a:pt x="179" y="467"/>
                  </a:lnTo>
                  <a:lnTo>
                    <a:pt x="182" y="451"/>
                  </a:lnTo>
                  <a:lnTo>
                    <a:pt x="183" y="444"/>
                  </a:lnTo>
                  <a:lnTo>
                    <a:pt x="183" y="434"/>
                  </a:lnTo>
                  <a:lnTo>
                    <a:pt x="184" y="417"/>
                  </a:lnTo>
                  <a:lnTo>
                    <a:pt x="184" y="0"/>
                  </a:lnTo>
                  <a:close/>
                  <a:moveTo>
                    <a:pt x="2201" y="863"/>
                  </a:moveTo>
                  <a:lnTo>
                    <a:pt x="2208" y="863"/>
                  </a:lnTo>
                  <a:lnTo>
                    <a:pt x="2216" y="864"/>
                  </a:lnTo>
                  <a:lnTo>
                    <a:pt x="2222" y="865"/>
                  </a:lnTo>
                  <a:lnTo>
                    <a:pt x="2228" y="867"/>
                  </a:lnTo>
                  <a:lnTo>
                    <a:pt x="2234" y="869"/>
                  </a:lnTo>
                  <a:lnTo>
                    <a:pt x="2239" y="872"/>
                  </a:lnTo>
                  <a:lnTo>
                    <a:pt x="2245" y="876"/>
                  </a:lnTo>
                  <a:lnTo>
                    <a:pt x="2250" y="880"/>
                  </a:lnTo>
                  <a:lnTo>
                    <a:pt x="2255" y="884"/>
                  </a:lnTo>
                  <a:lnTo>
                    <a:pt x="2258" y="890"/>
                  </a:lnTo>
                  <a:lnTo>
                    <a:pt x="2262" y="895"/>
                  </a:lnTo>
                  <a:lnTo>
                    <a:pt x="2265" y="901"/>
                  </a:lnTo>
                  <a:lnTo>
                    <a:pt x="2268" y="908"/>
                  </a:lnTo>
                  <a:lnTo>
                    <a:pt x="2270" y="914"/>
                  </a:lnTo>
                  <a:lnTo>
                    <a:pt x="2271" y="922"/>
                  </a:lnTo>
                  <a:lnTo>
                    <a:pt x="2272" y="930"/>
                  </a:lnTo>
                  <a:lnTo>
                    <a:pt x="2124" y="930"/>
                  </a:lnTo>
                  <a:lnTo>
                    <a:pt x="2125" y="922"/>
                  </a:lnTo>
                  <a:lnTo>
                    <a:pt x="2127" y="913"/>
                  </a:lnTo>
                  <a:lnTo>
                    <a:pt x="2130" y="906"/>
                  </a:lnTo>
                  <a:lnTo>
                    <a:pt x="2132" y="899"/>
                  </a:lnTo>
                  <a:lnTo>
                    <a:pt x="2137" y="893"/>
                  </a:lnTo>
                  <a:lnTo>
                    <a:pt x="2140" y="887"/>
                  </a:lnTo>
                  <a:lnTo>
                    <a:pt x="2145" y="882"/>
                  </a:lnTo>
                  <a:lnTo>
                    <a:pt x="2149" y="878"/>
                  </a:lnTo>
                  <a:lnTo>
                    <a:pt x="2154" y="874"/>
                  </a:lnTo>
                  <a:lnTo>
                    <a:pt x="2160" y="871"/>
                  </a:lnTo>
                  <a:lnTo>
                    <a:pt x="2167" y="869"/>
                  </a:lnTo>
                  <a:lnTo>
                    <a:pt x="2173" y="866"/>
                  </a:lnTo>
                  <a:lnTo>
                    <a:pt x="2179" y="865"/>
                  </a:lnTo>
                  <a:lnTo>
                    <a:pt x="2186" y="863"/>
                  </a:lnTo>
                  <a:lnTo>
                    <a:pt x="2194" y="863"/>
                  </a:lnTo>
                  <a:lnTo>
                    <a:pt x="2201" y="863"/>
                  </a:lnTo>
                  <a:close/>
                  <a:moveTo>
                    <a:pt x="2205" y="777"/>
                  </a:moveTo>
                  <a:lnTo>
                    <a:pt x="2194" y="777"/>
                  </a:lnTo>
                  <a:lnTo>
                    <a:pt x="2183" y="777"/>
                  </a:lnTo>
                  <a:lnTo>
                    <a:pt x="2174" y="778"/>
                  </a:lnTo>
                  <a:lnTo>
                    <a:pt x="2169" y="779"/>
                  </a:lnTo>
                  <a:lnTo>
                    <a:pt x="2164" y="780"/>
                  </a:lnTo>
                  <a:lnTo>
                    <a:pt x="2154" y="782"/>
                  </a:lnTo>
                  <a:lnTo>
                    <a:pt x="2145" y="785"/>
                  </a:lnTo>
                  <a:lnTo>
                    <a:pt x="2136" y="787"/>
                  </a:lnTo>
                  <a:lnTo>
                    <a:pt x="2126" y="790"/>
                  </a:lnTo>
                  <a:lnTo>
                    <a:pt x="2118" y="794"/>
                  </a:lnTo>
                  <a:lnTo>
                    <a:pt x="2110" y="797"/>
                  </a:lnTo>
                  <a:lnTo>
                    <a:pt x="2101" y="801"/>
                  </a:lnTo>
                  <a:lnTo>
                    <a:pt x="2094" y="806"/>
                  </a:lnTo>
                  <a:lnTo>
                    <a:pt x="2087" y="812"/>
                  </a:lnTo>
                  <a:lnTo>
                    <a:pt x="2078" y="817"/>
                  </a:lnTo>
                  <a:lnTo>
                    <a:pt x="2072" y="822"/>
                  </a:lnTo>
                  <a:lnTo>
                    <a:pt x="2065" y="828"/>
                  </a:lnTo>
                  <a:lnTo>
                    <a:pt x="2059" y="835"/>
                  </a:lnTo>
                  <a:lnTo>
                    <a:pt x="2056" y="839"/>
                  </a:lnTo>
                  <a:lnTo>
                    <a:pt x="2052" y="842"/>
                  </a:lnTo>
                  <a:lnTo>
                    <a:pt x="2047" y="849"/>
                  </a:lnTo>
                  <a:lnTo>
                    <a:pt x="2042" y="857"/>
                  </a:lnTo>
                  <a:lnTo>
                    <a:pt x="2037" y="865"/>
                  </a:lnTo>
                  <a:lnTo>
                    <a:pt x="2033" y="873"/>
                  </a:lnTo>
                  <a:lnTo>
                    <a:pt x="2029" y="881"/>
                  </a:lnTo>
                  <a:lnTo>
                    <a:pt x="2024" y="891"/>
                  </a:lnTo>
                  <a:lnTo>
                    <a:pt x="2021" y="900"/>
                  </a:lnTo>
                  <a:lnTo>
                    <a:pt x="2019" y="909"/>
                  </a:lnTo>
                  <a:lnTo>
                    <a:pt x="2016" y="920"/>
                  </a:lnTo>
                  <a:lnTo>
                    <a:pt x="2014" y="930"/>
                  </a:lnTo>
                  <a:lnTo>
                    <a:pt x="2013" y="940"/>
                  </a:lnTo>
                  <a:lnTo>
                    <a:pt x="2012" y="951"/>
                  </a:lnTo>
                  <a:lnTo>
                    <a:pt x="2011" y="962"/>
                  </a:lnTo>
                  <a:lnTo>
                    <a:pt x="2010" y="974"/>
                  </a:lnTo>
                  <a:lnTo>
                    <a:pt x="2011" y="985"/>
                  </a:lnTo>
                  <a:lnTo>
                    <a:pt x="2012" y="996"/>
                  </a:lnTo>
                  <a:lnTo>
                    <a:pt x="2013" y="1006"/>
                  </a:lnTo>
                  <a:lnTo>
                    <a:pt x="2014" y="1016"/>
                  </a:lnTo>
                  <a:lnTo>
                    <a:pt x="2019" y="1036"/>
                  </a:lnTo>
                  <a:lnTo>
                    <a:pt x="2021" y="1044"/>
                  </a:lnTo>
                  <a:lnTo>
                    <a:pt x="2025" y="1054"/>
                  </a:lnTo>
                  <a:lnTo>
                    <a:pt x="2029" y="1062"/>
                  </a:lnTo>
                  <a:lnTo>
                    <a:pt x="2033" y="1071"/>
                  </a:lnTo>
                  <a:lnTo>
                    <a:pt x="2038" y="1079"/>
                  </a:lnTo>
                  <a:lnTo>
                    <a:pt x="2042" y="1087"/>
                  </a:lnTo>
                  <a:lnTo>
                    <a:pt x="2048" y="1094"/>
                  </a:lnTo>
                  <a:lnTo>
                    <a:pt x="2053" y="1101"/>
                  </a:lnTo>
                  <a:lnTo>
                    <a:pt x="2060" y="1109"/>
                  </a:lnTo>
                  <a:lnTo>
                    <a:pt x="2067" y="1115"/>
                  </a:lnTo>
                  <a:lnTo>
                    <a:pt x="2074" y="1121"/>
                  </a:lnTo>
                  <a:lnTo>
                    <a:pt x="2082" y="1127"/>
                  </a:lnTo>
                  <a:lnTo>
                    <a:pt x="2089" y="1133"/>
                  </a:lnTo>
                  <a:lnTo>
                    <a:pt x="2097" y="1138"/>
                  </a:lnTo>
                  <a:lnTo>
                    <a:pt x="2105" y="1143"/>
                  </a:lnTo>
                  <a:lnTo>
                    <a:pt x="2114" y="1147"/>
                  </a:lnTo>
                  <a:lnTo>
                    <a:pt x="2122" y="1151"/>
                  </a:lnTo>
                  <a:lnTo>
                    <a:pt x="2131" y="1154"/>
                  </a:lnTo>
                  <a:lnTo>
                    <a:pt x="2141" y="1158"/>
                  </a:lnTo>
                  <a:lnTo>
                    <a:pt x="2151" y="1161"/>
                  </a:lnTo>
                  <a:lnTo>
                    <a:pt x="2162" y="1163"/>
                  </a:lnTo>
                  <a:lnTo>
                    <a:pt x="2172" y="1165"/>
                  </a:lnTo>
                  <a:lnTo>
                    <a:pt x="2182" y="1166"/>
                  </a:lnTo>
                  <a:lnTo>
                    <a:pt x="2193" y="1167"/>
                  </a:lnTo>
                  <a:lnTo>
                    <a:pt x="2204" y="1168"/>
                  </a:lnTo>
                  <a:lnTo>
                    <a:pt x="2217" y="1169"/>
                  </a:lnTo>
                  <a:lnTo>
                    <a:pt x="2228" y="1168"/>
                  </a:lnTo>
                  <a:lnTo>
                    <a:pt x="2239" y="1168"/>
                  </a:lnTo>
                  <a:lnTo>
                    <a:pt x="2250" y="1167"/>
                  </a:lnTo>
                  <a:lnTo>
                    <a:pt x="2261" y="1165"/>
                  </a:lnTo>
                  <a:lnTo>
                    <a:pt x="2272" y="1164"/>
                  </a:lnTo>
                  <a:lnTo>
                    <a:pt x="2281" y="1162"/>
                  </a:lnTo>
                  <a:lnTo>
                    <a:pt x="2301" y="1156"/>
                  </a:lnTo>
                  <a:lnTo>
                    <a:pt x="2319" y="1149"/>
                  </a:lnTo>
                  <a:lnTo>
                    <a:pt x="2337" y="1142"/>
                  </a:lnTo>
                  <a:lnTo>
                    <a:pt x="2353" y="1135"/>
                  </a:lnTo>
                  <a:lnTo>
                    <a:pt x="2368" y="1125"/>
                  </a:lnTo>
                  <a:lnTo>
                    <a:pt x="2325" y="1035"/>
                  </a:lnTo>
                  <a:lnTo>
                    <a:pt x="2315" y="1040"/>
                  </a:lnTo>
                  <a:lnTo>
                    <a:pt x="2305" y="1046"/>
                  </a:lnTo>
                  <a:lnTo>
                    <a:pt x="2292" y="1052"/>
                  </a:lnTo>
                  <a:lnTo>
                    <a:pt x="2279" y="1057"/>
                  </a:lnTo>
                  <a:lnTo>
                    <a:pt x="2273" y="1060"/>
                  </a:lnTo>
                  <a:lnTo>
                    <a:pt x="2265" y="1062"/>
                  </a:lnTo>
                  <a:lnTo>
                    <a:pt x="2250" y="1065"/>
                  </a:lnTo>
                  <a:lnTo>
                    <a:pt x="2243" y="1066"/>
                  </a:lnTo>
                  <a:lnTo>
                    <a:pt x="2234" y="1067"/>
                  </a:lnTo>
                  <a:lnTo>
                    <a:pt x="2218" y="1068"/>
                  </a:lnTo>
                  <a:lnTo>
                    <a:pt x="2208" y="1068"/>
                  </a:lnTo>
                  <a:lnTo>
                    <a:pt x="2200" y="1067"/>
                  </a:lnTo>
                  <a:lnTo>
                    <a:pt x="2192" y="1066"/>
                  </a:lnTo>
                  <a:lnTo>
                    <a:pt x="2183" y="1064"/>
                  </a:lnTo>
                  <a:lnTo>
                    <a:pt x="2176" y="1062"/>
                  </a:lnTo>
                  <a:lnTo>
                    <a:pt x="2169" y="1059"/>
                  </a:lnTo>
                  <a:lnTo>
                    <a:pt x="2162" y="1056"/>
                  </a:lnTo>
                  <a:lnTo>
                    <a:pt x="2155" y="1052"/>
                  </a:lnTo>
                  <a:lnTo>
                    <a:pt x="2149" y="1047"/>
                  </a:lnTo>
                  <a:lnTo>
                    <a:pt x="2144" y="1042"/>
                  </a:lnTo>
                  <a:lnTo>
                    <a:pt x="2139" y="1037"/>
                  </a:lnTo>
                  <a:lnTo>
                    <a:pt x="2135" y="1031"/>
                  </a:lnTo>
                  <a:lnTo>
                    <a:pt x="2131" y="1025"/>
                  </a:lnTo>
                  <a:lnTo>
                    <a:pt x="2128" y="1017"/>
                  </a:lnTo>
                  <a:lnTo>
                    <a:pt x="2125" y="1009"/>
                  </a:lnTo>
                  <a:lnTo>
                    <a:pt x="2123" y="1001"/>
                  </a:lnTo>
                  <a:lnTo>
                    <a:pt x="2388" y="1001"/>
                  </a:lnTo>
                  <a:lnTo>
                    <a:pt x="2388" y="974"/>
                  </a:lnTo>
                  <a:lnTo>
                    <a:pt x="2387" y="961"/>
                  </a:lnTo>
                  <a:lnTo>
                    <a:pt x="2387" y="950"/>
                  </a:lnTo>
                  <a:lnTo>
                    <a:pt x="2386" y="938"/>
                  </a:lnTo>
                  <a:lnTo>
                    <a:pt x="2384" y="927"/>
                  </a:lnTo>
                  <a:lnTo>
                    <a:pt x="2382" y="917"/>
                  </a:lnTo>
                  <a:lnTo>
                    <a:pt x="2380" y="906"/>
                  </a:lnTo>
                  <a:lnTo>
                    <a:pt x="2378" y="897"/>
                  </a:lnTo>
                  <a:lnTo>
                    <a:pt x="2375" y="886"/>
                  </a:lnTo>
                  <a:lnTo>
                    <a:pt x="2371" y="878"/>
                  </a:lnTo>
                  <a:lnTo>
                    <a:pt x="2367" y="869"/>
                  </a:lnTo>
                  <a:lnTo>
                    <a:pt x="2364" y="860"/>
                  </a:lnTo>
                  <a:lnTo>
                    <a:pt x="2359" y="853"/>
                  </a:lnTo>
                  <a:lnTo>
                    <a:pt x="2355" y="846"/>
                  </a:lnTo>
                  <a:lnTo>
                    <a:pt x="2350" y="839"/>
                  </a:lnTo>
                  <a:lnTo>
                    <a:pt x="2343" y="831"/>
                  </a:lnTo>
                  <a:lnTo>
                    <a:pt x="2338" y="825"/>
                  </a:lnTo>
                  <a:lnTo>
                    <a:pt x="2332" y="820"/>
                  </a:lnTo>
                  <a:lnTo>
                    <a:pt x="2325" y="814"/>
                  </a:lnTo>
                  <a:lnTo>
                    <a:pt x="2318" y="808"/>
                  </a:lnTo>
                  <a:lnTo>
                    <a:pt x="2311" y="804"/>
                  </a:lnTo>
                  <a:lnTo>
                    <a:pt x="2304" y="800"/>
                  </a:lnTo>
                  <a:lnTo>
                    <a:pt x="2297" y="796"/>
                  </a:lnTo>
                  <a:lnTo>
                    <a:pt x="2288" y="792"/>
                  </a:lnTo>
                  <a:lnTo>
                    <a:pt x="2280" y="789"/>
                  </a:lnTo>
                  <a:lnTo>
                    <a:pt x="2272" y="786"/>
                  </a:lnTo>
                  <a:lnTo>
                    <a:pt x="2268" y="785"/>
                  </a:lnTo>
                  <a:lnTo>
                    <a:pt x="2263" y="784"/>
                  </a:lnTo>
                  <a:lnTo>
                    <a:pt x="2254" y="781"/>
                  </a:lnTo>
                  <a:lnTo>
                    <a:pt x="2245" y="779"/>
                  </a:lnTo>
                  <a:lnTo>
                    <a:pt x="2235" y="778"/>
                  </a:lnTo>
                  <a:lnTo>
                    <a:pt x="2225" y="777"/>
                  </a:lnTo>
                  <a:lnTo>
                    <a:pt x="2205" y="777"/>
                  </a:lnTo>
                  <a:close/>
                  <a:moveTo>
                    <a:pt x="1790" y="1059"/>
                  </a:moveTo>
                  <a:lnTo>
                    <a:pt x="1780" y="1058"/>
                  </a:lnTo>
                  <a:lnTo>
                    <a:pt x="1772" y="1057"/>
                  </a:lnTo>
                  <a:lnTo>
                    <a:pt x="1764" y="1055"/>
                  </a:lnTo>
                  <a:lnTo>
                    <a:pt x="1756" y="1053"/>
                  </a:lnTo>
                  <a:lnTo>
                    <a:pt x="1749" y="1050"/>
                  </a:lnTo>
                  <a:lnTo>
                    <a:pt x="1742" y="1045"/>
                  </a:lnTo>
                  <a:lnTo>
                    <a:pt x="1735" y="1040"/>
                  </a:lnTo>
                  <a:lnTo>
                    <a:pt x="1732" y="1038"/>
                  </a:lnTo>
                  <a:lnTo>
                    <a:pt x="1729" y="1035"/>
                  </a:lnTo>
                  <a:lnTo>
                    <a:pt x="1726" y="1032"/>
                  </a:lnTo>
                  <a:lnTo>
                    <a:pt x="1724" y="1029"/>
                  </a:lnTo>
                  <a:lnTo>
                    <a:pt x="1719" y="1023"/>
                  </a:lnTo>
                  <a:lnTo>
                    <a:pt x="1715" y="1015"/>
                  </a:lnTo>
                  <a:lnTo>
                    <a:pt x="1712" y="1008"/>
                  </a:lnTo>
                  <a:lnTo>
                    <a:pt x="1708" y="1000"/>
                  </a:lnTo>
                  <a:lnTo>
                    <a:pt x="1706" y="991"/>
                  </a:lnTo>
                  <a:lnTo>
                    <a:pt x="1705" y="982"/>
                  </a:lnTo>
                  <a:lnTo>
                    <a:pt x="1705" y="973"/>
                  </a:lnTo>
                  <a:lnTo>
                    <a:pt x="1705" y="962"/>
                  </a:lnTo>
                  <a:lnTo>
                    <a:pt x="1706" y="953"/>
                  </a:lnTo>
                  <a:lnTo>
                    <a:pt x="1708" y="945"/>
                  </a:lnTo>
                  <a:lnTo>
                    <a:pt x="1712" y="936"/>
                  </a:lnTo>
                  <a:lnTo>
                    <a:pt x="1715" y="929"/>
                  </a:lnTo>
                  <a:lnTo>
                    <a:pt x="1719" y="922"/>
                  </a:lnTo>
                  <a:lnTo>
                    <a:pt x="1724" y="915"/>
                  </a:lnTo>
                  <a:lnTo>
                    <a:pt x="1729" y="909"/>
                  </a:lnTo>
                  <a:lnTo>
                    <a:pt x="1735" y="904"/>
                  </a:lnTo>
                  <a:lnTo>
                    <a:pt x="1742" y="899"/>
                  </a:lnTo>
                  <a:lnTo>
                    <a:pt x="1746" y="897"/>
                  </a:lnTo>
                  <a:lnTo>
                    <a:pt x="1749" y="896"/>
                  </a:lnTo>
                  <a:lnTo>
                    <a:pt x="1756" y="892"/>
                  </a:lnTo>
                  <a:lnTo>
                    <a:pt x="1764" y="890"/>
                  </a:lnTo>
                  <a:lnTo>
                    <a:pt x="1772" y="887"/>
                  </a:lnTo>
                  <a:lnTo>
                    <a:pt x="1780" y="886"/>
                  </a:lnTo>
                  <a:lnTo>
                    <a:pt x="1790" y="886"/>
                  </a:lnTo>
                  <a:lnTo>
                    <a:pt x="1799" y="886"/>
                  </a:lnTo>
                  <a:lnTo>
                    <a:pt x="1807" y="887"/>
                  </a:lnTo>
                  <a:lnTo>
                    <a:pt x="1815" y="890"/>
                  </a:lnTo>
                  <a:lnTo>
                    <a:pt x="1824" y="892"/>
                  </a:lnTo>
                  <a:lnTo>
                    <a:pt x="1831" y="896"/>
                  </a:lnTo>
                  <a:lnTo>
                    <a:pt x="1838" y="899"/>
                  </a:lnTo>
                  <a:lnTo>
                    <a:pt x="1845" y="904"/>
                  </a:lnTo>
                  <a:lnTo>
                    <a:pt x="1851" y="909"/>
                  </a:lnTo>
                  <a:lnTo>
                    <a:pt x="1854" y="912"/>
                  </a:lnTo>
                  <a:lnTo>
                    <a:pt x="1856" y="915"/>
                  </a:lnTo>
                  <a:lnTo>
                    <a:pt x="1861" y="922"/>
                  </a:lnTo>
                  <a:lnTo>
                    <a:pt x="1865" y="929"/>
                  </a:lnTo>
                  <a:lnTo>
                    <a:pt x="1868" y="936"/>
                  </a:lnTo>
                  <a:lnTo>
                    <a:pt x="1872" y="945"/>
                  </a:lnTo>
                  <a:lnTo>
                    <a:pt x="1874" y="953"/>
                  </a:lnTo>
                  <a:lnTo>
                    <a:pt x="1875" y="962"/>
                  </a:lnTo>
                  <a:lnTo>
                    <a:pt x="1875" y="973"/>
                  </a:lnTo>
                  <a:lnTo>
                    <a:pt x="1875" y="982"/>
                  </a:lnTo>
                  <a:lnTo>
                    <a:pt x="1874" y="991"/>
                  </a:lnTo>
                  <a:lnTo>
                    <a:pt x="1872" y="1000"/>
                  </a:lnTo>
                  <a:lnTo>
                    <a:pt x="1868" y="1008"/>
                  </a:lnTo>
                  <a:lnTo>
                    <a:pt x="1865" y="1015"/>
                  </a:lnTo>
                  <a:lnTo>
                    <a:pt x="1861" y="1023"/>
                  </a:lnTo>
                  <a:lnTo>
                    <a:pt x="1856" y="1029"/>
                  </a:lnTo>
                  <a:lnTo>
                    <a:pt x="1851" y="1035"/>
                  </a:lnTo>
                  <a:lnTo>
                    <a:pt x="1845" y="1040"/>
                  </a:lnTo>
                  <a:lnTo>
                    <a:pt x="1838" y="1045"/>
                  </a:lnTo>
                  <a:lnTo>
                    <a:pt x="1831" y="1050"/>
                  </a:lnTo>
                  <a:lnTo>
                    <a:pt x="1824" y="1053"/>
                  </a:lnTo>
                  <a:lnTo>
                    <a:pt x="1815" y="1055"/>
                  </a:lnTo>
                  <a:lnTo>
                    <a:pt x="1807" y="1057"/>
                  </a:lnTo>
                  <a:lnTo>
                    <a:pt x="1799" y="1058"/>
                  </a:lnTo>
                  <a:lnTo>
                    <a:pt x="1790" y="1059"/>
                  </a:lnTo>
                  <a:close/>
                  <a:moveTo>
                    <a:pt x="1800" y="1328"/>
                  </a:moveTo>
                  <a:lnTo>
                    <a:pt x="1824" y="1328"/>
                  </a:lnTo>
                  <a:lnTo>
                    <a:pt x="1834" y="1327"/>
                  </a:lnTo>
                  <a:lnTo>
                    <a:pt x="1846" y="1326"/>
                  </a:lnTo>
                  <a:lnTo>
                    <a:pt x="1856" y="1324"/>
                  </a:lnTo>
                  <a:lnTo>
                    <a:pt x="1865" y="1322"/>
                  </a:lnTo>
                  <a:lnTo>
                    <a:pt x="1876" y="1320"/>
                  </a:lnTo>
                  <a:lnTo>
                    <a:pt x="1885" y="1318"/>
                  </a:lnTo>
                  <a:lnTo>
                    <a:pt x="1893" y="1314"/>
                  </a:lnTo>
                  <a:lnTo>
                    <a:pt x="1903" y="1311"/>
                  </a:lnTo>
                  <a:lnTo>
                    <a:pt x="1918" y="1304"/>
                  </a:lnTo>
                  <a:lnTo>
                    <a:pt x="1927" y="1300"/>
                  </a:lnTo>
                  <a:lnTo>
                    <a:pt x="1934" y="1296"/>
                  </a:lnTo>
                  <a:lnTo>
                    <a:pt x="1946" y="1285"/>
                  </a:lnTo>
                  <a:lnTo>
                    <a:pt x="1953" y="1280"/>
                  </a:lnTo>
                  <a:lnTo>
                    <a:pt x="1959" y="1274"/>
                  </a:lnTo>
                  <a:lnTo>
                    <a:pt x="1964" y="1269"/>
                  </a:lnTo>
                  <a:lnTo>
                    <a:pt x="1969" y="1262"/>
                  </a:lnTo>
                  <a:lnTo>
                    <a:pt x="1973" y="1255"/>
                  </a:lnTo>
                  <a:lnTo>
                    <a:pt x="1978" y="1248"/>
                  </a:lnTo>
                  <a:lnTo>
                    <a:pt x="1982" y="1240"/>
                  </a:lnTo>
                  <a:lnTo>
                    <a:pt x="1985" y="1232"/>
                  </a:lnTo>
                  <a:lnTo>
                    <a:pt x="1988" y="1224"/>
                  </a:lnTo>
                  <a:lnTo>
                    <a:pt x="1991" y="1216"/>
                  </a:lnTo>
                  <a:lnTo>
                    <a:pt x="1993" y="1206"/>
                  </a:lnTo>
                  <a:lnTo>
                    <a:pt x="1995" y="1197"/>
                  </a:lnTo>
                  <a:lnTo>
                    <a:pt x="1996" y="1188"/>
                  </a:lnTo>
                  <a:lnTo>
                    <a:pt x="1997" y="1177"/>
                  </a:lnTo>
                  <a:lnTo>
                    <a:pt x="1998" y="1167"/>
                  </a:lnTo>
                  <a:lnTo>
                    <a:pt x="1998" y="1157"/>
                  </a:lnTo>
                  <a:lnTo>
                    <a:pt x="1998" y="788"/>
                  </a:lnTo>
                  <a:lnTo>
                    <a:pt x="1878" y="788"/>
                  </a:lnTo>
                  <a:lnTo>
                    <a:pt x="1878" y="839"/>
                  </a:lnTo>
                  <a:lnTo>
                    <a:pt x="1877" y="839"/>
                  </a:lnTo>
                  <a:lnTo>
                    <a:pt x="1873" y="831"/>
                  </a:lnTo>
                  <a:lnTo>
                    <a:pt x="1867" y="825"/>
                  </a:lnTo>
                  <a:lnTo>
                    <a:pt x="1862" y="819"/>
                  </a:lnTo>
                  <a:lnTo>
                    <a:pt x="1856" y="813"/>
                  </a:lnTo>
                  <a:lnTo>
                    <a:pt x="1851" y="807"/>
                  </a:lnTo>
                  <a:lnTo>
                    <a:pt x="1845" y="802"/>
                  </a:lnTo>
                  <a:lnTo>
                    <a:pt x="1837" y="797"/>
                  </a:lnTo>
                  <a:lnTo>
                    <a:pt x="1830" y="793"/>
                  </a:lnTo>
                  <a:lnTo>
                    <a:pt x="1823" y="789"/>
                  </a:lnTo>
                  <a:lnTo>
                    <a:pt x="1814" y="786"/>
                  </a:lnTo>
                  <a:lnTo>
                    <a:pt x="1806" y="782"/>
                  </a:lnTo>
                  <a:lnTo>
                    <a:pt x="1797" y="780"/>
                  </a:lnTo>
                  <a:lnTo>
                    <a:pt x="1787" y="778"/>
                  </a:lnTo>
                  <a:lnTo>
                    <a:pt x="1777" y="777"/>
                  </a:lnTo>
                  <a:lnTo>
                    <a:pt x="1767" y="776"/>
                  </a:lnTo>
                  <a:lnTo>
                    <a:pt x="1756" y="776"/>
                  </a:lnTo>
                  <a:lnTo>
                    <a:pt x="1738" y="777"/>
                  </a:lnTo>
                  <a:lnTo>
                    <a:pt x="1729" y="777"/>
                  </a:lnTo>
                  <a:lnTo>
                    <a:pt x="1721" y="779"/>
                  </a:lnTo>
                  <a:lnTo>
                    <a:pt x="1713" y="780"/>
                  </a:lnTo>
                  <a:lnTo>
                    <a:pt x="1704" y="784"/>
                  </a:lnTo>
                  <a:lnTo>
                    <a:pt x="1696" y="786"/>
                  </a:lnTo>
                  <a:lnTo>
                    <a:pt x="1689" y="789"/>
                  </a:lnTo>
                  <a:lnTo>
                    <a:pt x="1680" y="792"/>
                  </a:lnTo>
                  <a:lnTo>
                    <a:pt x="1673" y="795"/>
                  </a:lnTo>
                  <a:lnTo>
                    <a:pt x="1666" y="799"/>
                  </a:lnTo>
                  <a:lnTo>
                    <a:pt x="1660" y="804"/>
                  </a:lnTo>
                  <a:lnTo>
                    <a:pt x="1652" y="808"/>
                  </a:lnTo>
                  <a:lnTo>
                    <a:pt x="1645" y="814"/>
                  </a:lnTo>
                  <a:lnTo>
                    <a:pt x="1639" y="820"/>
                  </a:lnTo>
                  <a:lnTo>
                    <a:pt x="1633" y="825"/>
                  </a:lnTo>
                  <a:lnTo>
                    <a:pt x="1626" y="832"/>
                  </a:lnTo>
                  <a:lnTo>
                    <a:pt x="1621" y="839"/>
                  </a:lnTo>
                  <a:lnTo>
                    <a:pt x="1616" y="846"/>
                  </a:lnTo>
                  <a:lnTo>
                    <a:pt x="1611" y="853"/>
                  </a:lnTo>
                  <a:lnTo>
                    <a:pt x="1607" y="861"/>
                  </a:lnTo>
                  <a:lnTo>
                    <a:pt x="1602" y="869"/>
                  </a:lnTo>
                  <a:lnTo>
                    <a:pt x="1595" y="886"/>
                  </a:lnTo>
                  <a:lnTo>
                    <a:pt x="1592" y="896"/>
                  </a:lnTo>
                  <a:lnTo>
                    <a:pt x="1590" y="906"/>
                  </a:lnTo>
                  <a:lnTo>
                    <a:pt x="1587" y="915"/>
                  </a:lnTo>
                  <a:lnTo>
                    <a:pt x="1586" y="926"/>
                  </a:lnTo>
                  <a:lnTo>
                    <a:pt x="1584" y="937"/>
                  </a:lnTo>
                  <a:lnTo>
                    <a:pt x="1583" y="948"/>
                  </a:lnTo>
                  <a:lnTo>
                    <a:pt x="1582" y="959"/>
                  </a:lnTo>
                  <a:lnTo>
                    <a:pt x="1582" y="972"/>
                  </a:lnTo>
                  <a:lnTo>
                    <a:pt x="1582" y="983"/>
                  </a:lnTo>
                  <a:lnTo>
                    <a:pt x="1583" y="994"/>
                  </a:lnTo>
                  <a:lnTo>
                    <a:pt x="1584" y="1006"/>
                  </a:lnTo>
                  <a:lnTo>
                    <a:pt x="1585" y="1016"/>
                  </a:lnTo>
                  <a:lnTo>
                    <a:pt x="1587" y="1027"/>
                  </a:lnTo>
                  <a:lnTo>
                    <a:pt x="1589" y="1037"/>
                  </a:lnTo>
                  <a:lnTo>
                    <a:pt x="1592" y="1046"/>
                  </a:lnTo>
                  <a:lnTo>
                    <a:pt x="1595" y="1056"/>
                  </a:lnTo>
                  <a:lnTo>
                    <a:pt x="1598" y="1064"/>
                  </a:lnTo>
                  <a:lnTo>
                    <a:pt x="1602" y="1072"/>
                  </a:lnTo>
                  <a:lnTo>
                    <a:pt x="1607" y="1081"/>
                  </a:lnTo>
                  <a:lnTo>
                    <a:pt x="1611" y="1088"/>
                  </a:lnTo>
                  <a:lnTo>
                    <a:pt x="1615" y="1095"/>
                  </a:lnTo>
                  <a:lnTo>
                    <a:pt x="1620" y="1103"/>
                  </a:lnTo>
                  <a:lnTo>
                    <a:pt x="1626" y="1109"/>
                  </a:lnTo>
                  <a:lnTo>
                    <a:pt x="1633" y="1115"/>
                  </a:lnTo>
                  <a:lnTo>
                    <a:pt x="1639" y="1121"/>
                  </a:lnTo>
                  <a:lnTo>
                    <a:pt x="1645" y="1126"/>
                  </a:lnTo>
                  <a:lnTo>
                    <a:pt x="1651" y="1132"/>
                  </a:lnTo>
                  <a:lnTo>
                    <a:pt x="1659" y="1136"/>
                  </a:lnTo>
                  <a:lnTo>
                    <a:pt x="1665" y="1140"/>
                  </a:lnTo>
                  <a:lnTo>
                    <a:pt x="1672" y="1144"/>
                  </a:lnTo>
                  <a:lnTo>
                    <a:pt x="1679" y="1148"/>
                  </a:lnTo>
                  <a:lnTo>
                    <a:pt x="1688" y="1151"/>
                  </a:lnTo>
                  <a:lnTo>
                    <a:pt x="1695" y="1153"/>
                  </a:lnTo>
                  <a:lnTo>
                    <a:pt x="1703" y="1157"/>
                  </a:lnTo>
                  <a:lnTo>
                    <a:pt x="1712" y="1159"/>
                  </a:lnTo>
                  <a:lnTo>
                    <a:pt x="1720" y="1160"/>
                  </a:lnTo>
                  <a:lnTo>
                    <a:pt x="1728" y="1162"/>
                  </a:lnTo>
                  <a:lnTo>
                    <a:pt x="1738" y="1162"/>
                  </a:lnTo>
                  <a:lnTo>
                    <a:pt x="1755" y="1163"/>
                  </a:lnTo>
                  <a:lnTo>
                    <a:pt x="1767" y="1163"/>
                  </a:lnTo>
                  <a:lnTo>
                    <a:pt x="1777" y="1162"/>
                  </a:lnTo>
                  <a:lnTo>
                    <a:pt x="1787" y="1160"/>
                  </a:lnTo>
                  <a:lnTo>
                    <a:pt x="1798" y="1159"/>
                  </a:lnTo>
                  <a:lnTo>
                    <a:pt x="1807" y="1156"/>
                  </a:lnTo>
                  <a:lnTo>
                    <a:pt x="1815" y="1153"/>
                  </a:lnTo>
                  <a:lnTo>
                    <a:pt x="1824" y="1149"/>
                  </a:lnTo>
                  <a:lnTo>
                    <a:pt x="1831" y="1146"/>
                  </a:lnTo>
                  <a:lnTo>
                    <a:pt x="1838" y="1142"/>
                  </a:lnTo>
                  <a:lnTo>
                    <a:pt x="1846" y="1137"/>
                  </a:lnTo>
                  <a:lnTo>
                    <a:pt x="1852" y="1133"/>
                  </a:lnTo>
                  <a:lnTo>
                    <a:pt x="1857" y="1127"/>
                  </a:lnTo>
                  <a:lnTo>
                    <a:pt x="1863" y="1123"/>
                  </a:lnTo>
                  <a:lnTo>
                    <a:pt x="1867" y="1118"/>
                  </a:lnTo>
                  <a:lnTo>
                    <a:pt x="1873" y="1113"/>
                  </a:lnTo>
                  <a:lnTo>
                    <a:pt x="1877" y="1107"/>
                  </a:lnTo>
                  <a:lnTo>
                    <a:pt x="1878" y="1107"/>
                  </a:lnTo>
                  <a:lnTo>
                    <a:pt x="1878" y="1131"/>
                  </a:lnTo>
                  <a:lnTo>
                    <a:pt x="1878" y="1143"/>
                  </a:lnTo>
                  <a:lnTo>
                    <a:pt x="1877" y="1153"/>
                  </a:lnTo>
                  <a:lnTo>
                    <a:pt x="1876" y="1163"/>
                  </a:lnTo>
                  <a:lnTo>
                    <a:pt x="1875" y="1167"/>
                  </a:lnTo>
                  <a:lnTo>
                    <a:pt x="1874" y="1171"/>
                  </a:lnTo>
                  <a:lnTo>
                    <a:pt x="1871" y="1179"/>
                  </a:lnTo>
                  <a:lnTo>
                    <a:pt x="1866" y="1187"/>
                  </a:lnTo>
                  <a:lnTo>
                    <a:pt x="1862" y="1193"/>
                  </a:lnTo>
                  <a:lnTo>
                    <a:pt x="1857" y="1198"/>
                  </a:lnTo>
                  <a:lnTo>
                    <a:pt x="1852" y="1202"/>
                  </a:lnTo>
                  <a:lnTo>
                    <a:pt x="1846" y="1205"/>
                  </a:lnTo>
                  <a:lnTo>
                    <a:pt x="1842" y="1207"/>
                  </a:lnTo>
                  <a:lnTo>
                    <a:pt x="1838" y="1209"/>
                  </a:lnTo>
                  <a:lnTo>
                    <a:pt x="1830" y="1212"/>
                  </a:lnTo>
                  <a:lnTo>
                    <a:pt x="1822" y="1214"/>
                  </a:lnTo>
                  <a:lnTo>
                    <a:pt x="1812" y="1215"/>
                  </a:lnTo>
                  <a:lnTo>
                    <a:pt x="1802" y="1216"/>
                  </a:lnTo>
                  <a:lnTo>
                    <a:pt x="1792" y="1216"/>
                  </a:lnTo>
                  <a:lnTo>
                    <a:pt x="1768" y="1215"/>
                  </a:lnTo>
                  <a:lnTo>
                    <a:pt x="1754" y="1214"/>
                  </a:lnTo>
                  <a:lnTo>
                    <a:pt x="1739" y="1212"/>
                  </a:lnTo>
                  <a:lnTo>
                    <a:pt x="1722" y="1210"/>
                  </a:lnTo>
                  <a:lnTo>
                    <a:pt x="1703" y="1206"/>
                  </a:lnTo>
                  <a:lnTo>
                    <a:pt x="1684" y="1202"/>
                  </a:lnTo>
                  <a:lnTo>
                    <a:pt x="1662" y="1197"/>
                  </a:lnTo>
                  <a:lnTo>
                    <a:pt x="1642" y="1309"/>
                  </a:lnTo>
                  <a:lnTo>
                    <a:pt x="1665" y="1314"/>
                  </a:lnTo>
                  <a:lnTo>
                    <a:pt x="1688" y="1318"/>
                  </a:lnTo>
                  <a:lnTo>
                    <a:pt x="1709" y="1321"/>
                  </a:lnTo>
                  <a:lnTo>
                    <a:pt x="1730" y="1324"/>
                  </a:lnTo>
                  <a:lnTo>
                    <a:pt x="1750" y="1326"/>
                  </a:lnTo>
                  <a:lnTo>
                    <a:pt x="1768" y="1327"/>
                  </a:lnTo>
                  <a:lnTo>
                    <a:pt x="1784" y="1328"/>
                  </a:lnTo>
                  <a:lnTo>
                    <a:pt x="1800" y="1328"/>
                  </a:lnTo>
                  <a:close/>
                  <a:moveTo>
                    <a:pt x="1431" y="776"/>
                  </a:moveTo>
                  <a:lnTo>
                    <a:pt x="1421" y="776"/>
                  </a:lnTo>
                  <a:lnTo>
                    <a:pt x="1411" y="777"/>
                  </a:lnTo>
                  <a:lnTo>
                    <a:pt x="1403" y="778"/>
                  </a:lnTo>
                  <a:lnTo>
                    <a:pt x="1394" y="780"/>
                  </a:lnTo>
                  <a:lnTo>
                    <a:pt x="1385" y="784"/>
                  </a:lnTo>
                  <a:lnTo>
                    <a:pt x="1381" y="785"/>
                  </a:lnTo>
                  <a:lnTo>
                    <a:pt x="1377" y="786"/>
                  </a:lnTo>
                  <a:lnTo>
                    <a:pt x="1369" y="790"/>
                  </a:lnTo>
                  <a:lnTo>
                    <a:pt x="1360" y="794"/>
                  </a:lnTo>
                  <a:lnTo>
                    <a:pt x="1353" y="798"/>
                  </a:lnTo>
                  <a:lnTo>
                    <a:pt x="1346" y="803"/>
                  </a:lnTo>
                  <a:lnTo>
                    <a:pt x="1338" y="810"/>
                  </a:lnTo>
                  <a:lnTo>
                    <a:pt x="1332" y="815"/>
                  </a:lnTo>
                  <a:lnTo>
                    <a:pt x="1326" y="822"/>
                  </a:lnTo>
                  <a:lnTo>
                    <a:pt x="1321" y="828"/>
                  </a:lnTo>
                  <a:lnTo>
                    <a:pt x="1316" y="835"/>
                  </a:lnTo>
                  <a:lnTo>
                    <a:pt x="1310" y="844"/>
                  </a:lnTo>
                  <a:lnTo>
                    <a:pt x="1308" y="844"/>
                  </a:lnTo>
                  <a:lnTo>
                    <a:pt x="1308" y="788"/>
                  </a:lnTo>
                  <a:lnTo>
                    <a:pt x="1191" y="788"/>
                  </a:lnTo>
                  <a:lnTo>
                    <a:pt x="1191" y="1157"/>
                  </a:lnTo>
                  <a:lnTo>
                    <a:pt x="1311" y="1157"/>
                  </a:lnTo>
                  <a:lnTo>
                    <a:pt x="1311" y="972"/>
                  </a:lnTo>
                  <a:lnTo>
                    <a:pt x="1311" y="960"/>
                  </a:lnTo>
                  <a:lnTo>
                    <a:pt x="1313" y="949"/>
                  </a:lnTo>
                  <a:lnTo>
                    <a:pt x="1315" y="939"/>
                  </a:lnTo>
                  <a:lnTo>
                    <a:pt x="1316" y="934"/>
                  </a:lnTo>
                  <a:lnTo>
                    <a:pt x="1317" y="930"/>
                  </a:lnTo>
                  <a:lnTo>
                    <a:pt x="1319" y="922"/>
                  </a:lnTo>
                  <a:lnTo>
                    <a:pt x="1323" y="914"/>
                  </a:lnTo>
                  <a:lnTo>
                    <a:pt x="1327" y="908"/>
                  </a:lnTo>
                  <a:lnTo>
                    <a:pt x="1331" y="902"/>
                  </a:lnTo>
                  <a:lnTo>
                    <a:pt x="1336" y="898"/>
                  </a:lnTo>
                  <a:lnTo>
                    <a:pt x="1342" y="894"/>
                  </a:lnTo>
                  <a:lnTo>
                    <a:pt x="1348" y="890"/>
                  </a:lnTo>
                  <a:lnTo>
                    <a:pt x="1354" y="886"/>
                  </a:lnTo>
                  <a:lnTo>
                    <a:pt x="1360" y="884"/>
                  </a:lnTo>
                  <a:lnTo>
                    <a:pt x="1368" y="883"/>
                  </a:lnTo>
                  <a:lnTo>
                    <a:pt x="1375" y="882"/>
                  </a:lnTo>
                  <a:lnTo>
                    <a:pt x="1382" y="882"/>
                  </a:lnTo>
                  <a:lnTo>
                    <a:pt x="1390" y="882"/>
                  </a:lnTo>
                  <a:lnTo>
                    <a:pt x="1398" y="883"/>
                  </a:lnTo>
                  <a:lnTo>
                    <a:pt x="1402" y="884"/>
                  </a:lnTo>
                  <a:lnTo>
                    <a:pt x="1405" y="884"/>
                  </a:lnTo>
                  <a:lnTo>
                    <a:pt x="1411" y="886"/>
                  </a:lnTo>
                  <a:lnTo>
                    <a:pt x="1417" y="890"/>
                  </a:lnTo>
                  <a:lnTo>
                    <a:pt x="1423" y="893"/>
                  </a:lnTo>
                  <a:lnTo>
                    <a:pt x="1428" y="897"/>
                  </a:lnTo>
                  <a:lnTo>
                    <a:pt x="1431" y="899"/>
                  </a:lnTo>
                  <a:lnTo>
                    <a:pt x="1433" y="901"/>
                  </a:lnTo>
                  <a:lnTo>
                    <a:pt x="1437" y="906"/>
                  </a:lnTo>
                  <a:lnTo>
                    <a:pt x="1440" y="912"/>
                  </a:lnTo>
                  <a:lnTo>
                    <a:pt x="1443" y="919"/>
                  </a:lnTo>
                  <a:lnTo>
                    <a:pt x="1444" y="923"/>
                  </a:lnTo>
                  <a:lnTo>
                    <a:pt x="1446" y="926"/>
                  </a:lnTo>
                  <a:lnTo>
                    <a:pt x="1448" y="934"/>
                  </a:lnTo>
                  <a:lnTo>
                    <a:pt x="1449" y="943"/>
                  </a:lnTo>
                  <a:lnTo>
                    <a:pt x="1450" y="952"/>
                  </a:lnTo>
                  <a:lnTo>
                    <a:pt x="1450" y="962"/>
                  </a:lnTo>
                  <a:lnTo>
                    <a:pt x="1450" y="1157"/>
                  </a:lnTo>
                  <a:lnTo>
                    <a:pt x="1569" y="1157"/>
                  </a:lnTo>
                  <a:lnTo>
                    <a:pt x="1569" y="928"/>
                  </a:lnTo>
                  <a:lnTo>
                    <a:pt x="1569" y="919"/>
                  </a:lnTo>
                  <a:lnTo>
                    <a:pt x="1569" y="909"/>
                  </a:lnTo>
                  <a:lnTo>
                    <a:pt x="1568" y="900"/>
                  </a:lnTo>
                  <a:lnTo>
                    <a:pt x="1567" y="892"/>
                  </a:lnTo>
                  <a:lnTo>
                    <a:pt x="1565" y="883"/>
                  </a:lnTo>
                  <a:lnTo>
                    <a:pt x="1564" y="875"/>
                  </a:lnTo>
                  <a:lnTo>
                    <a:pt x="1560" y="860"/>
                  </a:lnTo>
                  <a:lnTo>
                    <a:pt x="1557" y="853"/>
                  </a:lnTo>
                  <a:lnTo>
                    <a:pt x="1554" y="846"/>
                  </a:lnTo>
                  <a:lnTo>
                    <a:pt x="1547" y="833"/>
                  </a:lnTo>
                  <a:lnTo>
                    <a:pt x="1543" y="828"/>
                  </a:lnTo>
                  <a:lnTo>
                    <a:pt x="1539" y="823"/>
                  </a:lnTo>
                  <a:lnTo>
                    <a:pt x="1535" y="818"/>
                  </a:lnTo>
                  <a:lnTo>
                    <a:pt x="1531" y="813"/>
                  </a:lnTo>
                  <a:lnTo>
                    <a:pt x="1526" y="808"/>
                  </a:lnTo>
                  <a:lnTo>
                    <a:pt x="1520" y="804"/>
                  </a:lnTo>
                  <a:lnTo>
                    <a:pt x="1510" y="796"/>
                  </a:lnTo>
                  <a:lnTo>
                    <a:pt x="1505" y="793"/>
                  </a:lnTo>
                  <a:lnTo>
                    <a:pt x="1499" y="790"/>
                  </a:lnTo>
                  <a:lnTo>
                    <a:pt x="1487" y="785"/>
                  </a:lnTo>
                  <a:lnTo>
                    <a:pt x="1481" y="782"/>
                  </a:lnTo>
                  <a:lnTo>
                    <a:pt x="1474" y="781"/>
                  </a:lnTo>
                  <a:lnTo>
                    <a:pt x="1460" y="778"/>
                  </a:lnTo>
                  <a:lnTo>
                    <a:pt x="1453" y="777"/>
                  </a:lnTo>
                  <a:lnTo>
                    <a:pt x="1446" y="776"/>
                  </a:lnTo>
                  <a:lnTo>
                    <a:pt x="1431" y="776"/>
                  </a:lnTo>
                  <a:close/>
                  <a:moveTo>
                    <a:pt x="950" y="1059"/>
                  </a:moveTo>
                  <a:lnTo>
                    <a:pt x="942" y="1058"/>
                  </a:lnTo>
                  <a:lnTo>
                    <a:pt x="932" y="1057"/>
                  </a:lnTo>
                  <a:lnTo>
                    <a:pt x="924" y="1055"/>
                  </a:lnTo>
                  <a:lnTo>
                    <a:pt x="917" y="1053"/>
                  </a:lnTo>
                  <a:lnTo>
                    <a:pt x="909" y="1050"/>
                  </a:lnTo>
                  <a:lnTo>
                    <a:pt x="902" y="1045"/>
                  </a:lnTo>
                  <a:lnTo>
                    <a:pt x="896" y="1040"/>
                  </a:lnTo>
                  <a:lnTo>
                    <a:pt x="893" y="1038"/>
                  </a:lnTo>
                  <a:lnTo>
                    <a:pt x="890" y="1035"/>
                  </a:lnTo>
                  <a:lnTo>
                    <a:pt x="886" y="1032"/>
                  </a:lnTo>
                  <a:lnTo>
                    <a:pt x="884" y="1029"/>
                  </a:lnTo>
                  <a:lnTo>
                    <a:pt x="879" y="1023"/>
                  </a:lnTo>
                  <a:lnTo>
                    <a:pt x="875" y="1015"/>
                  </a:lnTo>
                  <a:lnTo>
                    <a:pt x="872" y="1008"/>
                  </a:lnTo>
                  <a:lnTo>
                    <a:pt x="869" y="1000"/>
                  </a:lnTo>
                  <a:lnTo>
                    <a:pt x="867" y="991"/>
                  </a:lnTo>
                  <a:lnTo>
                    <a:pt x="866" y="982"/>
                  </a:lnTo>
                  <a:lnTo>
                    <a:pt x="866" y="973"/>
                  </a:lnTo>
                  <a:lnTo>
                    <a:pt x="866" y="962"/>
                  </a:lnTo>
                  <a:lnTo>
                    <a:pt x="867" y="953"/>
                  </a:lnTo>
                  <a:lnTo>
                    <a:pt x="869" y="945"/>
                  </a:lnTo>
                  <a:lnTo>
                    <a:pt x="872" y="936"/>
                  </a:lnTo>
                  <a:lnTo>
                    <a:pt x="875" y="929"/>
                  </a:lnTo>
                  <a:lnTo>
                    <a:pt x="879" y="922"/>
                  </a:lnTo>
                  <a:lnTo>
                    <a:pt x="884" y="915"/>
                  </a:lnTo>
                  <a:lnTo>
                    <a:pt x="890" y="909"/>
                  </a:lnTo>
                  <a:lnTo>
                    <a:pt x="896" y="904"/>
                  </a:lnTo>
                  <a:lnTo>
                    <a:pt x="902" y="899"/>
                  </a:lnTo>
                  <a:lnTo>
                    <a:pt x="906" y="897"/>
                  </a:lnTo>
                  <a:lnTo>
                    <a:pt x="909" y="896"/>
                  </a:lnTo>
                  <a:lnTo>
                    <a:pt x="917" y="892"/>
                  </a:lnTo>
                  <a:lnTo>
                    <a:pt x="924" y="890"/>
                  </a:lnTo>
                  <a:lnTo>
                    <a:pt x="932" y="887"/>
                  </a:lnTo>
                  <a:lnTo>
                    <a:pt x="942" y="886"/>
                  </a:lnTo>
                  <a:lnTo>
                    <a:pt x="950" y="886"/>
                  </a:lnTo>
                  <a:lnTo>
                    <a:pt x="959" y="886"/>
                  </a:lnTo>
                  <a:lnTo>
                    <a:pt x="967" y="887"/>
                  </a:lnTo>
                  <a:lnTo>
                    <a:pt x="976" y="890"/>
                  </a:lnTo>
                  <a:lnTo>
                    <a:pt x="984" y="892"/>
                  </a:lnTo>
                  <a:lnTo>
                    <a:pt x="991" y="896"/>
                  </a:lnTo>
                  <a:lnTo>
                    <a:pt x="999" y="899"/>
                  </a:lnTo>
                  <a:lnTo>
                    <a:pt x="1005" y="904"/>
                  </a:lnTo>
                  <a:lnTo>
                    <a:pt x="1011" y="909"/>
                  </a:lnTo>
                  <a:lnTo>
                    <a:pt x="1014" y="912"/>
                  </a:lnTo>
                  <a:lnTo>
                    <a:pt x="1016" y="915"/>
                  </a:lnTo>
                  <a:lnTo>
                    <a:pt x="1022" y="922"/>
                  </a:lnTo>
                  <a:lnTo>
                    <a:pt x="1026" y="929"/>
                  </a:lnTo>
                  <a:lnTo>
                    <a:pt x="1029" y="936"/>
                  </a:lnTo>
                  <a:lnTo>
                    <a:pt x="1032" y="945"/>
                  </a:lnTo>
                  <a:lnTo>
                    <a:pt x="1034" y="953"/>
                  </a:lnTo>
                  <a:lnTo>
                    <a:pt x="1035" y="962"/>
                  </a:lnTo>
                  <a:lnTo>
                    <a:pt x="1035" y="973"/>
                  </a:lnTo>
                  <a:lnTo>
                    <a:pt x="1035" y="982"/>
                  </a:lnTo>
                  <a:lnTo>
                    <a:pt x="1034" y="991"/>
                  </a:lnTo>
                  <a:lnTo>
                    <a:pt x="1032" y="1000"/>
                  </a:lnTo>
                  <a:lnTo>
                    <a:pt x="1029" y="1008"/>
                  </a:lnTo>
                  <a:lnTo>
                    <a:pt x="1026" y="1015"/>
                  </a:lnTo>
                  <a:lnTo>
                    <a:pt x="1022" y="1023"/>
                  </a:lnTo>
                  <a:lnTo>
                    <a:pt x="1016" y="1029"/>
                  </a:lnTo>
                  <a:lnTo>
                    <a:pt x="1011" y="1035"/>
                  </a:lnTo>
                  <a:lnTo>
                    <a:pt x="1005" y="1040"/>
                  </a:lnTo>
                  <a:lnTo>
                    <a:pt x="999" y="1045"/>
                  </a:lnTo>
                  <a:lnTo>
                    <a:pt x="991" y="1050"/>
                  </a:lnTo>
                  <a:lnTo>
                    <a:pt x="984" y="1053"/>
                  </a:lnTo>
                  <a:lnTo>
                    <a:pt x="976" y="1055"/>
                  </a:lnTo>
                  <a:lnTo>
                    <a:pt x="967" y="1057"/>
                  </a:lnTo>
                  <a:lnTo>
                    <a:pt x="959" y="1058"/>
                  </a:lnTo>
                  <a:lnTo>
                    <a:pt x="950" y="1059"/>
                  </a:lnTo>
                  <a:close/>
                  <a:moveTo>
                    <a:pt x="917" y="1169"/>
                  </a:moveTo>
                  <a:lnTo>
                    <a:pt x="927" y="1168"/>
                  </a:lnTo>
                  <a:lnTo>
                    <a:pt x="937" y="1167"/>
                  </a:lnTo>
                  <a:lnTo>
                    <a:pt x="948" y="1166"/>
                  </a:lnTo>
                  <a:lnTo>
                    <a:pt x="957" y="1164"/>
                  </a:lnTo>
                  <a:lnTo>
                    <a:pt x="966" y="1162"/>
                  </a:lnTo>
                  <a:lnTo>
                    <a:pt x="975" y="1159"/>
                  </a:lnTo>
                  <a:lnTo>
                    <a:pt x="983" y="1156"/>
                  </a:lnTo>
                  <a:lnTo>
                    <a:pt x="990" y="1151"/>
                  </a:lnTo>
                  <a:lnTo>
                    <a:pt x="998" y="1147"/>
                  </a:lnTo>
                  <a:lnTo>
                    <a:pt x="1005" y="1142"/>
                  </a:lnTo>
                  <a:lnTo>
                    <a:pt x="1011" y="1137"/>
                  </a:lnTo>
                  <a:lnTo>
                    <a:pt x="1017" y="1132"/>
                  </a:lnTo>
                  <a:lnTo>
                    <a:pt x="1023" y="1126"/>
                  </a:lnTo>
                  <a:lnTo>
                    <a:pt x="1028" y="1120"/>
                  </a:lnTo>
                  <a:lnTo>
                    <a:pt x="1033" y="1113"/>
                  </a:lnTo>
                  <a:lnTo>
                    <a:pt x="1037" y="1107"/>
                  </a:lnTo>
                  <a:lnTo>
                    <a:pt x="1038" y="1107"/>
                  </a:lnTo>
                  <a:lnTo>
                    <a:pt x="1038" y="1157"/>
                  </a:lnTo>
                  <a:lnTo>
                    <a:pt x="1159" y="1157"/>
                  </a:lnTo>
                  <a:lnTo>
                    <a:pt x="1159" y="788"/>
                  </a:lnTo>
                  <a:lnTo>
                    <a:pt x="1038" y="788"/>
                  </a:lnTo>
                  <a:lnTo>
                    <a:pt x="1038" y="839"/>
                  </a:lnTo>
                  <a:lnTo>
                    <a:pt x="1037" y="839"/>
                  </a:lnTo>
                  <a:lnTo>
                    <a:pt x="1033" y="831"/>
                  </a:lnTo>
                  <a:lnTo>
                    <a:pt x="1028" y="825"/>
                  </a:lnTo>
                  <a:lnTo>
                    <a:pt x="1023" y="819"/>
                  </a:lnTo>
                  <a:lnTo>
                    <a:pt x="1017" y="813"/>
                  </a:lnTo>
                  <a:lnTo>
                    <a:pt x="1011" y="807"/>
                  </a:lnTo>
                  <a:lnTo>
                    <a:pt x="1005" y="802"/>
                  </a:lnTo>
                  <a:lnTo>
                    <a:pt x="998" y="797"/>
                  </a:lnTo>
                  <a:lnTo>
                    <a:pt x="990" y="793"/>
                  </a:lnTo>
                  <a:lnTo>
                    <a:pt x="983" y="789"/>
                  </a:lnTo>
                  <a:lnTo>
                    <a:pt x="975" y="786"/>
                  </a:lnTo>
                  <a:lnTo>
                    <a:pt x="966" y="782"/>
                  </a:lnTo>
                  <a:lnTo>
                    <a:pt x="957" y="780"/>
                  </a:lnTo>
                  <a:lnTo>
                    <a:pt x="948" y="778"/>
                  </a:lnTo>
                  <a:lnTo>
                    <a:pt x="937" y="777"/>
                  </a:lnTo>
                  <a:lnTo>
                    <a:pt x="927" y="776"/>
                  </a:lnTo>
                  <a:lnTo>
                    <a:pt x="917" y="776"/>
                  </a:lnTo>
                  <a:lnTo>
                    <a:pt x="899" y="777"/>
                  </a:lnTo>
                  <a:lnTo>
                    <a:pt x="890" y="777"/>
                  </a:lnTo>
                  <a:lnTo>
                    <a:pt x="881" y="779"/>
                  </a:lnTo>
                  <a:lnTo>
                    <a:pt x="873" y="780"/>
                  </a:lnTo>
                  <a:lnTo>
                    <a:pt x="865" y="784"/>
                  </a:lnTo>
                  <a:lnTo>
                    <a:pt x="856" y="786"/>
                  </a:lnTo>
                  <a:lnTo>
                    <a:pt x="849" y="789"/>
                  </a:lnTo>
                  <a:lnTo>
                    <a:pt x="841" y="792"/>
                  </a:lnTo>
                  <a:lnTo>
                    <a:pt x="833" y="795"/>
                  </a:lnTo>
                  <a:lnTo>
                    <a:pt x="826" y="799"/>
                  </a:lnTo>
                  <a:lnTo>
                    <a:pt x="820" y="804"/>
                  </a:lnTo>
                  <a:lnTo>
                    <a:pt x="813" y="808"/>
                  </a:lnTo>
                  <a:lnTo>
                    <a:pt x="806" y="814"/>
                  </a:lnTo>
                  <a:lnTo>
                    <a:pt x="799" y="820"/>
                  </a:lnTo>
                  <a:lnTo>
                    <a:pt x="793" y="826"/>
                  </a:lnTo>
                  <a:lnTo>
                    <a:pt x="788" y="832"/>
                  </a:lnTo>
                  <a:lnTo>
                    <a:pt x="781" y="839"/>
                  </a:lnTo>
                  <a:lnTo>
                    <a:pt x="776" y="846"/>
                  </a:lnTo>
                  <a:lnTo>
                    <a:pt x="771" y="853"/>
                  </a:lnTo>
                  <a:lnTo>
                    <a:pt x="767" y="861"/>
                  </a:lnTo>
                  <a:lnTo>
                    <a:pt x="763" y="870"/>
                  </a:lnTo>
                  <a:lnTo>
                    <a:pt x="755" y="887"/>
                  </a:lnTo>
                  <a:lnTo>
                    <a:pt x="752" y="897"/>
                  </a:lnTo>
                  <a:lnTo>
                    <a:pt x="750" y="906"/>
                  </a:lnTo>
                  <a:lnTo>
                    <a:pt x="747" y="917"/>
                  </a:lnTo>
                  <a:lnTo>
                    <a:pt x="746" y="927"/>
                  </a:lnTo>
                  <a:lnTo>
                    <a:pt x="744" y="937"/>
                  </a:lnTo>
                  <a:lnTo>
                    <a:pt x="743" y="949"/>
                  </a:lnTo>
                  <a:lnTo>
                    <a:pt x="742" y="960"/>
                  </a:lnTo>
                  <a:lnTo>
                    <a:pt x="742" y="973"/>
                  </a:lnTo>
                  <a:lnTo>
                    <a:pt x="742" y="984"/>
                  </a:lnTo>
                  <a:lnTo>
                    <a:pt x="743" y="996"/>
                  </a:lnTo>
                  <a:lnTo>
                    <a:pt x="746" y="1018"/>
                  </a:lnTo>
                  <a:lnTo>
                    <a:pt x="747" y="1029"/>
                  </a:lnTo>
                  <a:lnTo>
                    <a:pt x="750" y="1038"/>
                  </a:lnTo>
                  <a:lnTo>
                    <a:pt x="752" y="1048"/>
                  </a:lnTo>
                  <a:lnTo>
                    <a:pt x="755" y="1058"/>
                  </a:lnTo>
                  <a:lnTo>
                    <a:pt x="759" y="1066"/>
                  </a:lnTo>
                  <a:lnTo>
                    <a:pt x="763" y="1076"/>
                  </a:lnTo>
                  <a:lnTo>
                    <a:pt x="767" y="1083"/>
                  </a:lnTo>
                  <a:lnTo>
                    <a:pt x="771" y="1091"/>
                  </a:lnTo>
                  <a:lnTo>
                    <a:pt x="776" y="1098"/>
                  </a:lnTo>
                  <a:lnTo>
                    <a:pt x="781" y="1106"/>
                  </a:lnTo>
                  <a:lnTo>
                    <a:pt x="788" y="1113"/>
                  </a:lnTo>
                  <a:lnTo>
                    <a:pt x="793" y="1119"/>
                  </a:lnTo>
                  <a:lnTo>
                    <a:pt x="799" y="1125"/>
                  </a:lnTo>
                  <a:lnTo>
                    <a:pt x="806" y="1131"/>
                  </a:lnTo>
                  <a:lnTo>
                    <a:pt x="813" y="1136"/>
                  </a:lnTo>
                  <a:lnTo>
                    <a:pt x="820" y="1141"/>
                  </a:lnTo>
                  <a:lnTo>
                    <a:pt x="826" y="1145"/>
                  </a:lnTo>
                  <a:lnTo>
                    <a:pt x="833" y="1149"/>
                  </a:lnTo>
                  <a:lnTo>
                    <a:pt x="841" y="1152"/>
                  </a:lnTo>
                  <a:lnTo>
                    <a:pt x="849" y="1157"/>
                  </a:lnTo>
                  <a:lnTo>
                    <a:pt x="856" y="1159"/>
                  </a:lnTo>
                  <a:lnTo>
                    <a:pt x="865" y="1162"/>
                  </a:lnTo>
                  <a:lnTo>
                    <a:pt x="873" y="1164"/>
                  </a:lnTo>
                  <a:lnTo>
                    <a:pt x="881" y="1165"/>
                  </a:lnTo>
                  <a:lnTo>
                    <a:pt x="890" y="1167"/>
                  </a:lnTo>
                  <a:lnTo>
                    <a:pt x="899" y="1168"/>
                  </a:lnTo>
                  <a:lnTo>
                    <a:pt x="917" y="1169"/>
                  </a:lnTo>
                  <a:close/>
                  <a:moveTo>
                    <a:pt x="472" y="599"/>
                  </a:moveTo>
                  <a:lnTo>
                    <a:pt x="351" y="599"/>
                  </a:lnTo>
                  <a:lnTo>
                    <a:pt x="351" y="1157"/>
                  </a:lnTo>
                  <a:lnTo>
                    <a:pt x="472" y="1157"/>
                  </a:lnTo>
                  <a:lnTo>
                    <a:pt x="472" y="972"/>
                  </a:lnTo>
                  <a:lnTo>
                    <a:pt x="473" y="960"/>
                  </a:lnTo>
                  <a:lnTo>
                    <a:pt x="474" y="949"/>
                  </a:lnTo>
                  <a:lnTo>
                    <a:pt x="475" y="939"/>
                  </a:lnTo>
                  <a:lnTo>
                    <a:pt x="476" y="934"/>
                  </a:lnTo>
                  <a:lnTo>
                    <a:pt x="478" y="930"/>
                  </a:lnTo>
                  <a:lnTo>
                    <a:pt x="480" y="922"/>
                  </a:lnTo>
                  <a:lnTo>
                    <a:pt x="484" y="914"/>
                  </a:lnTo>
                  <a:lnTo>
                    <a:pt x="487" y="908"/>
                  </a:lnTo>
                  <a:lnTo>
                    <a:pt x="493" y="902"/>
                  </a:lnTo>
                  <a:lnTo>
                    <a:pt x="498" y="898"/>
                  </a:lnTo>
                  <a:lnTo>
                    <a:pt x="503" y="894"/>
                  </a:lnTo>
                  <a:lnTo>
                    <a:pt x="509" y="890"/>
                  </a:lnTo>
                  <a:lnTo>
                    <a:pt x="515" y="886"/>
                  </a:lnTo>
                  <a:lnTo>
                    <a:pt x="522" y="884"/>
                  </a:lnTo>
                  <a:lnTo>
                    <a:pt x="528" y="883"/>
                  </a:lnTo>
                  <a:lnTo>
                    <a:pt x="535" y="882"/>
                  </a:lnTo>
                  <a:lnTo>
                    <a:pt x="544" y="882"/>
                  </a:lnTo>
                  <a:lnTo>
                    <a:pt x="551" y="882"/>
                  </a:lnTo>
                  <a:lnTo>
                    <a:pt x="559" y="883"/>
                  </a:lnTo>
                  <a:lnTo>
                    <a:pt x="565" y="884"/>
                  </a:lnTo>
                  <a:lnTo>
                    <a:pt x="573" y="886"/>
                  </a:lnTo>
                  <a:lnTo>
                    <a:pt x="578" y="890"/>
                  </a:lnTo>
                  <a:lnTo>
                    <a:pt x="584" y="893"/>
                  </a:lnTo>
                  <a:lnTo>
                    <a:pt x="589" y="897"/>
                  </a:lnTo>
                  <a:lnTo>
                    <a:pt x="591" y="899"/>
                  </a:lnTo>
                  <a:lnTo>
                    <a:pt x="593" y="901"/>
                  </a:lnTo>
                  <a:lnTo>
                    <a:pt x="598" y="906"/>
                  </a:lnTo>
                  <a:lnTo>
                    <a:pt x="601" y="912"/>
                  </a:lnTo>
                  <a:lnTo>
                    <a:pt x="604" y="919"/>
                  </a:lnTo>
                  <a:lnTo>
                    <a:pt x="606" y="926"/>
                  </a:lnTo>
                  <a:lnTo>
                    <a:pt x="608" y="934"/>
                  </a:lnTo>
                  <a:lnTo>
                    <a:pt x="609" y="943"/>
                  </a:lnTo>
                  <a:lnTo>
                    <a:pt x="610" y="952"/>
                  </a:lnTo>
                  <a:lnTo>
                    <a:pt x="610" y="962"/>
                  </a:lnTo>
                  <a:lnTo>
                    <a:pt x="610" y="1157"/>
                  </a:lnTo>
                  <a:lnTo>
                    <a:pt x="731" y="1157"/>
                  </a:lnTo>
                  <a:lnTo>
                    <a:pt x="731" y="928"/>
                  </a:lnTo>
                  <a:lnTo>
                    <a:pt x="731" y="919"/>
                  </a:lnTo>
                  <a:lnTo>
                    <a:pt x="730" y="909"/>
                  </a:lnTo>
                  <a:lnTo>
                    <a:pt x="730" y="900"/>
                  </a:lnTo>
                  <a:lnTo>
                    <a:pt x="727" y="892"/>
                  </a:lnTo>
                  <a:lnTo>
                    <a:pt x="726" y="883"/>
                  </a:lnTo>
                  <a:lnTo>
                    <a:pt x="724" y="875"/>
                  </a:lnTo>
                  <a:lnTo>
                    <a:pt x="720" y="860"/>
                  </a:lnTo>
                  <a:lnTo>
                    <a:pt x="718" y="853"/>
                  </a:lnTo>
                  <a:lnTo>
                    <a:pt x="715" y="846"/>
                  </a:lnTo>
                  <a:lnTo>
                    <a:pt x="709" y="833"/>
                  </a:lnTo>
                  <a:lnTo>
                    <a:pt x="705" y="828"/>
                  </a:lnTo>
                  <a:lnTo>
                    <a:pt x="700" y="823"/>
                  </a:lnTo>
                  <a:lnTo>
                    <a:pt x="696" y="818"/>
                  </a:lnTo>
                  <a:lnTo>
                    <a:pt x="692" y="813"/>
                  </a:lnTo>
                  <a:lnTo>
                    <a:pt x="687" y="808"/>
                  </a:lnTo>
                  <a:lnTo>
                    <a:pt x="682" y="804"/>
                  </a:lnTo>
                  <a:lnTo>
                    <a:pt x="671" y="796"/>
                  </a:lnTo>
                  <a:lnTo>
                    <a:pt x="666" y="793"/>
                  </a:lnTo>
                  <a:lnTo>
                    <a:pt x="660" y="790"/>
                  </a:lnTo>
                  <a:lnTo>
                    <a:pt x="648" y="785"/>
                  </a:lnTo>
                  <a:lnTo>
                    <a:pt x="641" y="782"/>
                  </a:lnTo>
                  <a:lnTo>
                    <a:pt x="635" y="781"/>
                  </a:lnTo>
                  <a:lnTo>
                    <a:pt x="621" y="778"/>
                  </a:lnTo>
                  <a:lnTo>
                    <a:pt x="614" y="777"/>
                  </a:lnTo>
                  <a:lnTo>
                    <a:pt x="607" y="776"/>
                  </a:lnTo>
                  <a:lnTo>
                    <a:pt x="592" y="776"/>
                  </a:lnTo>
                  <a:lnTo>
                    <a:pt x="582" y="776"/>
                  </a:lnTo>
                  <a:lnTo>
                    <a:pt x="573" y="777"/>
                  </a:lnTo>
                  <a:lnTo>
                    <a:pt x="563" y="778"/>
                  </a:lnTo>
                  <a:lnTo>
                    <a:pt x="555" y="780"/>
                  </a:lnTo>
                  <a:lnTo>
                    <a:pt x="547" y="782"/>
                  </a:lnTo>
                  <a:lnTo>
                    <a:pt x="538" y="785"/>
                  </a:lnTo>
                  <a:lnTo>
                    <a:pt x="530" y="788"/>
                  </a:lnTo>
                  <a:lnTo>
                    <a:pt x="523" y="792"/>
                  </a:lnTo>
                  <a:lnTo>
                    <a:pt x="515" y="796"/>
                  </a:lnTo>
                  <a:lnTo>
                    <a:pt x="508" y="800"/>
                  </a:lnTo>
                  <a:lnTo>
                    <a:pt x="502" y="805"/>
                  </a:lnTo>
                  <a:lnTo>
                    <a:pt x="496" y="811"/>
                  </a:lnTo>
                  <a:lnTo>
                    <a:pt x="489" y="817"/>
                  </a:lnTo>
                  <a:lnTo>
                    <a:pt x="484" y="823"/>
                  </a:lnTo>
                  <a:lnTo>
                    <a:pt x="474" y="837"/>
                  </a:lnTo>
                  <a:lnTo>
                    <a:pt x="472" y="837"/>
                  </a:lnTo>
                  <a:lnTo>
                    <a:pt x="472" y="599"/>
                  </a:lnTo>
                  <a:close/>
                  <a:moveTo>
                    <a:pt x="214" y="1169"/>
                  </a:moveTo>
                  <a:lnTo>
                    <a:pt x="233" y="1168"/>
                  </a:lnTo>
                  <a:lnTo>
                    <a:pt x="251" y="1166"/>
                  </a:lnTo>
                  <a:lnTo>
                    <a:pt x="268" y="1163"/>
                  </a:lnTo>
                  <a:lnTo>
                    <a:pt x="276" y="1162"/>
                  </a:lnTo>
                  <a:lnTo>
                    <a:pt x="285" y="1160"/>
                  </a:lnTo>
                  <a:lnTo>
                    <a:pt x="293" y="1157"/>
                  </a:lnTo>
                  <a:lnTo>
                    <a:pt x="301" y="1154"/>
                  </a:lnTo>
                  <a:lnTo>
                    <a:pt x="309" y="1151"/>
                  </a:lnTo>
                  <a:lnTo>
                    <a:pt x="317" y="1148"/>
                  </a:lnTo>
                  <a:lnTo>
                    <a:pt x="333" y="1141"/>
                  </a:lnTo>
                  <a:lnTo>
                    <a:pt x="340" y="1137"/>
                  </a:lnTo>
                  <a:lnTo>
                    <a:pt x="347" y="1133"/>
                  </a:lnTo>
                  <a:lnTo>
                    <a:pt x="297" y="1036"/>
                  </a:lnTo>
                  <a:lnTo>
                    <a:pt x="289" y="1041"/>
                  </a:lnTo>
                  <a:lnTo>
                    <a:pt x="281" y="1045"/>
                  </a:lnTo>
                  <a:lnTo>
                    <a:pt x="271" y="1050"/>
                  </a:lnTo>
                  <a:lnTo>
                    <a:pt x="267" y="1052"/>
                  </a:lnTo>
                  <a:lnTo>
                    <a:pt x="263" y="1053"/>
                  </a:lnTo>
                  <a:lnTo>
                    <a:pt x="253" y="1055"/>
                  </a:lnTo>
                  <a:lnTo>
                    <a:pt x="242" y="1057"/>
                  </a:lnTo>
                  <a:lnTo>
                    <a:pt x="232" y="1058"/>
                  </a:lnTo>
                  <a:lnTo>
                    <a:pt x="219" y="1059"/>
                  </a:lnTo>
                  <a:lnTo>
                    <a:pt x="210" y="1058"/>
                  </a:lnTo>
                  <a:lnTo>
                    <a:pt x="202" y="1057"/>
                  </a:lnTo>
                  <a:lnTo>
                    <a:pt x="193" y="1055"/>
                  </a:lnTo>
                  <a:lnTo>
                    <a:pt x="185" y="1053"/>
                  </a:lnTo>
                  <a:lnTo>
                    <a:pt x="178" y="1050"/>
                  </a:lnTo>
                  <a:lnTo>
                    <a:pt x="174" y="1047"/>
                  </a:lnTo>
                  <a:lnTo>
                    <a:pt x="170" y="1045"/>
                  </a:lnTo>
                  <a:lnTo>
                    <a:pt x="163" y="1041"/>
                  </a:lnTo>
                  <a:lnTo>
                    <a:pt x="157" y="1036"/>
                  </a:lnTo>
                  <a:lnTo>
                    <a:pt x="151" y="1030"/>
                  </a:lnTo>
                  <a:lnTo>
                    <a:pt x="145" y="1024"/>
                  </a:lnTo>
                  <a:lnTo>
                    <a:pt x="140" y="1016"/>
                  </a:lnTo>
                  <a:lnTo>
                    <a:pt x="137" y="1009"/>
                  </a:lnTo>
                  <a:lnTo>
                    <a:pt x="134" y="1001"/>
                  </a:lnTo>
                  <a:lnTo>
                    <a:pt x="131" y="991"/>
                  </a:lnTo>
                  <a:lnTo>
                    <a:pt x="130" y="982"/>
                  </a:lnTo>
                  <a:lnTo>
                    <a:pt x="129" y="973"/>
                  </a:lnTo>
                  <a:lnTo>
                    <a:pt x="130" y="962"/>
                  </a:lnTo>
                  <a:lnTo>
                    <a:pt x="131" y="957"/>
                  </a:lnTo>
                  <a:lnTo>
                    <a:pt x="131" y="953"/>
                  </a:lnTo>
                  <a:lnTo>
                    <a:pt x="132" y="948"/>
                  </a:lnTo>
                  <a:lnTo>
                    <a:pt x="134" y="944"/>
                  </a:lnTo>
                  <a:lnTo>
                    <a:pt x="135" y="939"/>
                  </a:lnTo>
                  <a:lnTo>
                    <a:pt x="137" y="935"/>
                  </a:lnTo>
                  <a:lnTo>
                    <a:pt x="140" y="928"/>
                  </a:lnTo>
                  <a:lnTo>
                    <a:pt x="142" y="924"/>
                  </a:lnTo>
                  <a:lnTo>
                    <a:pt x="145" y="921"/>
                  </a:lnTo>
                  <a:lnTo>
                    <a:pt x="148" y="918"/>
                  </a:lnTo>
                  <a:lnTo>
                    <a:pt x="151" y="914"/>
                  </a:lnTo>
                  <a:lnTo>
                    <a:pt x="157" y="908"/>
                  </a:lnTo>
                  <a:lnTo>
                    <a:pt x="163" y="903"/>
                  </a:lnTo>
                  <a:lnTo>
                    <a:pt x="170" y="899"/>
                  </a:lnTo>
                  <a:lnTo>
                    <a:pt x="178" y="895"/>
                  </a:lnTo>
                  <a:lnTo>
                    <a:pt x="185" y="892"/>
                  </a:lnTo>
                  <a:lnTo>
                    <a:pt x="189" y="891"/>
                  </a:lnTo>
                  <a:lnTo>
                    <a:pt x="193" y="890"/>
                  </a:lnTo>
                  <a:lnTo>
                    <a:pt x="202" y="887"/>
                  </a:lnTo>
                  <a:lnTo>
                    <a:pt x="210" y="886"/>
                  </a:lnTo>
                  <a:lnTo>
                    <a:pt x="219" y="886"/>
                  </a:lnTo>
                  <a:lnTo>
                    <a:pt x="232" y="886"/>
                  </a:lnTo>
                  <a:lnTo>
                    <a:pt x="242" y="887"/>
                  </a:lnTo>
                  <a:lnTo>
                    <a:pt x="253" y="890"/>
                  </a:lnTo>
                  <a:lnTo>
                    <a:pt x="263" y="892"/>
                  </a:lnTo>
                  <a:lnTo>
                    <a:pt x="271" y="895"/>
                  </a:lnTo>
                  <a:lnTo>
                    <a:pt x="276" y="897"/>
                  </a:lnTo>
                  <a:lnTo>
                    <a:pt x="281" y="899"/>
                  </a:lnTo>
                  <a:lnTo>
                    <a:pt x="289" y="903"/>
                  </a:lnTo>
                  <a:lnTo>
                    <a:pt x="297" y="908"/>
                  </a:lnTo>
                  <a:lnTo>
                    <a:pt x="347" y="812"/>
                  </a:lnTo>
                  <a:lnTo>
                    <a:pt x="333" y="803"/>
                  </a:lnTo>
                  <a:lnTo>
                    <a:pt x="317" y="797"/>
                  </a:lnTo>
                  <a:lnTo>
                    <a:pt x="301" y="791"/>
                  </a:lnTo>
                  <a:lnTo>
                    <a:pt x="285" y="786"/>
                  </a:lnTo>
                  <a:lnTo>
                    <a:pt x="268" y="781"/>
                  </a:lnTo>
                  <a:lnTo>
                    <a:pt x="251" y="778"/>
                  </a:lnTo>
                  <a:lnTo>
                    <a:pt x="233" y="776"/>
                  </a:lnTo>
                  <a:lnTo>
                    <a:pt x="223" y="776"/>
                  </a:lnTo>
                  <a:lnTo>
                    <a:pt x="214" y="776"/>
                  </a:lnTo>
                  <a:lnTo>
                    <a:pt x="203" y="776"/>
                  </a:lnTo>
                  <a:lnTo>
                    <a:pt x="192" y="777"/>
                  </a:lnTo>
                  <a:lnTo>
                    <a:pt x="181" y="778"/>
                  </a:lnTo>
                  <a:lnTo>
                    <a:pt x="170" y="779"/>
                  </a:lnTo>
                  <a:lnTo>
                    <a:pt x="161" y="781"/>
                  </a:lnTo>
                  <a:lnTo>
                    <a:pt x="151" y="785"/>
                  </a:lnTo>
                  <a:lnTo>
                    <a:pt x="141" y="787"/>
                  </a:lnTo>
                  <a:lnTo>
                    <a:pt x="132" y="790"/>
                  </a:lnTo>
                  <a:lnTo>
                    <a:pt x="123" y="794"/>
                  </a:lnTo>
                  <a:lnTo>
                    <a:pt x="114" y="797"/>
                  </a:lnTo>
                  <a:lnTo>
                    <a:pt x="106" y="802"/>
                  </a:lnTo>
                  <a:lnTo>
                    <a:pt x="98" y="806"/>
                  </a:lnTo>
                  <a:lnTo>
                    <a:pt x="89" y="812"/>
                  </a:lnTo>
                  <a:lnTo>
                    <a:pt x="82" y="817"/>
                  </a:lnTo>
                  <a:lnTo>
                    <a:pt x="68" y="829"/>
                  </a:lnTo>
                  <a:lnTo>
                    <a:pt x="60" y="837"/>
                  </a:lnTo>
                  <a:lnTo>
                    <a:pt x="54" y="843"/>
                  </a:lnTo>
                  <a:lnTo>
                    <a:pt x="48" y="850"/>
                  </a:lnTo>
                  <a:lnTo>
                    <a:pt x="43" y="858"/>
                  </a:lnTo>
                  <a:lnTo>
                    <a:pt x="37" y="866"/>
                  </a:lnTo>
                  <a:lnTo>
                    <a:pt x="32" y="874"/>
                  </a:lnTo>
                  <a:lnTo>
                    <a:pt x="28" y="882"/>
                  </a:lnTo>
                  <a:lnTo>
                    <a:pt x="24" y="892"/>
                  </a:lnTo>
                  <a:lnTo>
                    <a:pt x="21" y="901"/>
                  </a:lnTo>
                  <a:lnTo>
                    <a:pt x="18" y="910"/>
                  </a:lnTo>
                  <a:lnTo>
                    <a:pt x="16" y="920"/>
                  </a:lnTo>
                  <a:lnTo>
                    <a:pt x="14" y="929"/>
                  </a:lnTo>
                  <a:lnTo>
                    <a:pt x="11" y="939"/>
                  </a:lnTo>
                  <a:lnTo>
                    <a:pt x="10" y="950"/>
                  </a:lnTo>
                  <a:lnTo>
                    <a:pt x="9" y="961"/>
                  </a:lnTo>
                  <a:lnTo>
                    <a:pt x="9" y="973"/>
                  </a:lnTo>
                  <a:lnTo>
                    <a:pt x="9" y="983"/>
                  </a:lnTo>
                  <a:lnTo>
                    <a:pt x="10" y="994"/>
                  </a:lnTo>
                  <a:lnTo>
                    <a:pt x="11" y="1005"/>
                  </a:lnTo>
                  <a:lnTo>
                    <a:pt x="14" y="1015"/>
                  </a:lnTo>
                  <a:lnTo>
                    <a:pt x="16" y="1025"/>
                  </a:lnTo>
                  <a:lnTo>
                    <a:pt x="18" y="1035"/>
                  </a:lnTo>
                  <a:lnTo>
                    <a:pt x="21" y="1044"/>
                  </a:lnTo>
                  <a:lnTo>
                    <a:pt x="24" y="1053"/>
                  </a:lnTo>
                  <a:lnTo>
                    <a:pt x="28" y="1062"/>
                  </a:lnTo>
                  <a:lnTo>
                    <a:pt x="32" y="1070"/>
                  </a:lnTo>
                  <a:lnTo>
                    <a:pt x="37" y="1079"/>
                  </a:lnTo>
                  <a:lnTo>
                    <a:pt x="43" y="1087"/>
                  </a:lnTo>
                  <a:lnTo>
                    <a:pt x="48" y="1094"/>
                  </a:lnTo>
                  <a:lnTo>
                    <a:pt x="54" y="1101"/>
                  </a:lnTo>
                  <a:lnTo>
                    <a:pt x="60" y="1109"/>
                  </a:lnTo>
                  <a:lnTo>
                    <a:pt x="68" y="1115"/>
                  </a:lnTo>
                  <a:lnTo>
                    <a:pt x="71" y="1118"/>
                  </a:lnTo>
                  <a:lnTo>
                    <a:pt x="75" y="1121"/>
                  </a:lnTo>
                  <a:lnTo>
                    <a:pt x="82" y="1127"/>
                  </a:lnTo>
                  <a:lnTo>
                    <a:pt x="89" y="1133"/>
                  </a:lnTo>
                  <a:lnTo>
                    <a:pt x="98" y="1138"/>
                  </a:lnTo>
                  <a:lnTo>
                    <a:pt x="106" y="1143"/>
                  </a:lnTo>
                  <a:lnTo>
                    <a:pt x="114" y="1147"/>
                  </a:lnTo>
                  <a:lnTo>
                    <a:pt x="123" y="1151"/>
                  </a:lnTo>
                  <a:lnTo>
                    <a:pt x="132" y="1154"/>
                  </a:lnTo>
                  <a:lnTo>
                    <a:pt x="141" y="1158"/>
                  </a:lnTo>
                  <a:lnTo>
                    <a:pt x="151" y="1161"/>
                  </a:lnTo>
                  <a:lnTo>
                    <a:pt x="161" y="1163"/>
                  </a:lnTo>
                  <a:lnTo>
                    <a:pt x="170" y="1165"/>
                  </a:lnTo>
                  <a:lnTo>
                    <a:pt x="181" y="1166"/>
                  </a:lnTo>
                  <a:lnTo>
                    <a:pt x="192" y="1167"/>
                  </a:lnTo>
                  <a:lnTo>
                    <a:pt x="203" y="1168"/>
                  </a:lnTo>
                  <a:lnTo>
                    <a:pt x="214" y="116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013">
                <a:solidFill>
                  <a:srgbClr val="000000"/>
                </a:solidFill>
                <a:cs typeface="Arial" charset="0"/>
              </a:endParaRPr>
            </a:p>
          </p:txBody>
        </p:sp>
      </p:grpSp>
      <p:grpSp>
        <p:nvGrpSpPr>
          <p:cNvPr id="9" name="Group 8"/>
          <p:cNvGrpSpPr/>
          <p:nvPr userDrawn="1"/>
        </p:nvGrpSpPr>
        <p:grpSpPr>
          <a:xfrm>
            <a:off x="7785357" y="6273316"/>
            <a:ext cx="1080120" cy="396044"/>
            <a:chOff x="10380476" y="6273316"/>
            <a:chExt cx="1440160" cy="396044"/>
          </a:xfrm>
        </p:grpSpPr>
        <p:sp>
          <p:nvSpPr>
            <p:cNvPr id="22" name="Rectangle 21"/>
            <p:cNvSpPr/>
            <p:nvPr userDrawn="1"/>
          </p:nvSpPr>
          <p:spPr>
            <a:xfrm>
              <a:off x="10380476" y="6273316"/>
              <a:ext cx="1440160" cy="396044"/>
            </a:xfrm>
            <a:prstGeom prst="rect">
              <a:avLst/>
            </a:prstGeom>
            <a:solidFill>
              <a:srgbClr val="83D29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013">
                <a:solidFill>
                  <a:prstClr val="white"/>
                </a:solidFill>
              </a:endParaRPr>
            </a:p>
          </p:txBody>
        </p:sp>
        <p:sp>
          <p:nvSpPr>
            <p:cNvPr id="21" name="Freeform 6"/>
            <p:cNvSpPr>
              <a:spLocks noChangeAspect="1" noEditPoints="1"/>
            </p:cNvSpPr>
            <p:nvPr userDrawn="1"/>
          </p:nvSpPr>
          <p:spPr bwMode="auto">
            <a:xfrm>
              <a:off x="10561138" y="6342715"/>
              <a:ext cx="1080000" cy="254935"/>
            </a:xfrm>
            <a:custGeom>
              <a:avLst/>
              <a:gdLst>
                <a:gd name="T0" fmla="*/ 317 w 6630"/>
                <a:gd name="T1" fmla="*/ 622 h 1565"/>
                <a:gd name="T2" fmla="*/ 549 w 6630"/>
                <a:gd name="T3" fmla="*/ 281 h 1565"/>
                <a:gd name="T4" fmla="*/ 146 w 6630"/>
                <a:gd name="T5" fmla="*/ 254 h 1565"/>
                <a:gd name="T6" fmla="*/ 2 w 6630"/>
                <a:gd name="T7" fmla="*/ 668 h 1565"/>
                <a:gd name="T8" fmla="*/ 113 w 6630"/>
                <a:gd name="T9" fmla="*/ 1146 h 1565"/>
                <a:gd name="T10" fmla="*/ 417 w 6630"/>
                <a:gd name="T11" fmla="*/ 1452 h 1565"/>
                <a:gd name="T12" fmla="*/ 862 w 6630"/>
                <a:gd name="T13" fmla="*/ 1565 h 1565"/>
                <a:gd name="T14" fmla="*/ 1067 w 6630"/>
                <a:gd name="T15" fmla="*/ 1206 h 1565"/>
                <a:gd name="T16" fmla="*/ 718 w 6630"/>
                <a:gd name="T17" fmla="*/ 1244 h 1565"/>
                <a:gd name="T18" fmla="*/ 395 w 6630"/>
                <a:gd name="T19" fmla="*/ 1028 h 1565"/>
                <a:gd name="T20" fmla="*/ 689 w 6630"/>
                <a:gd name="T21" fmla="*/ 1169 h 1565"/>
                <a:gd name="T22" fmla="*/ 1039 w 6630"/>
                <a:gd name="T23" fmla="*/ 1148 h 1565"/>
                <a:gd name="T24" fmla="*/ 1292 w 6630"/>
                <a:gd name="T25" fmla="*/ 840 h 1565"/>
                <a:gd name="T26" fmla="*/ 1208 w 6630"/>
                <a:gd name="T27" fmla="*/ 435 h 1565"/>
                <a:gd name="T28" fmla="*/ 902 w 6630"/>
                <a:gd name="T29" fmla="*/ 264 h 1565"/>
                <a:gd name="T30" fmla="*/ 518 w 6630"/>
                <a:gd name="T31" fmla="*/ 388 h 1565"/>
                <a:gd name="T32" fmla="*/ 372 w 6630"/>
                <a:gd name="T33" fmla="*/ 702 h 1565"/>
                <a:gd name="T34" fmla="*/ 3593 w 6630"/>
                <a:gd name="T35" fmla="*/ 799 h 1565"/>
                <a:gd name="T36" fmla="*/ 3366 w 6630"/>
                <a:gd name="T37" fmla="*/ 869 h 1565"/>
                <a:gd name="T38" fmla="*/ 3297 w 6630"/>
                <a:gd name="T39" fmla="*/ 570 h 1565"/>
                <a:gd name="T40" fmla="*/ 3419 w 6630"/>
                <a:gd name="T41" fmla="*/ 595 h 1565"/>
                <a:gd name="T42" fmla="*/ 4253 w 6630"/>
                <a:gd name="T43" fmla="*/ 1275 h 1565"/>
                <a:gd name="T44" fmla="*/ 4022 w 6630"/>
                <a:gd name="T45" fmla="*/ 1243 h 1565"/>
                <a:gd name="T46" fmla="*/ 3739 w 6630"/>
                <a:gd name="T47" fmla="*/ 1222 h 1565"/>
                <a:gd name="T48" fmla="*/ 3881 w 6630"/>
                <a:gd name="T49" fmla="*/ 1458 h 1565"/>
                <a:gd name="T50" fmla="*/ 2979 w 6630"/>
                <a:gd name="T51" fmla="*/ 1024 h 1565"/>
                <a:gd name="T52" fmla="*/ 2840 w 6630"/>
                <a:gd name="T53" fmla="*/ 1384 h 1565"/>
                <a:gd name="T54" fmla="*/ 2563 w 6630"/>
                <a:gd name="T55" fmla="*/ 1502 h 1565"/>
                <a:gd name="T56" fmla="*/ 2237 w 6630"/>
                <a:gd name="T57" fmla="*/ 1402 h 1565"/>
                <a:gd name="T58" fmla="*/ 2085 w 6630"/>
                <a:gd name="T59" fmla="*/ 1074 h 1565"/>
                <a:gd name="T60" fmla="*/ 2179 w 6630"/>
                <a:gd name="T61" fmla="*/ 715 h 1565"/>
                <a:gd name="T62" fmla="*/ 2521 w 6630"/>
                <a:gd name="T63" fmla="*/ 546 h 1565"/>
                <a:gd name="T64" fmla="*/ 2907 w 6630"/>
                <a:gd name="T65" fmla="*/ 740 h 1565"/>
                <a:gd name="T66" fmla="*/ 2711 w 6630"/>
                <a:gd name="T67" fmla="*/ 938 h 1565"/>
                <a:gd name="T68" fmla="*/ 2584 w 6630"/>
                <a:gd name="T69" fmla="*/ 769 h 1565"/>
                <a:gd name="T70" fmla="*/ 2395 w 6630"/>
                <a:gd name="T71" fmla="*/ 833 h 1565"/>
                <a:gd name="T72" fmla="*/ 2349 w 6630"/>
                <a:gd name="T73" fmla="*/ 1090 h 1565"/>
                <a:gd name="T74" fmla="*/ 2495 w 6630"/>
                <a:gd name="T75" fmla="*/ 1278 h 1565"/>
                <a:gd name="T76" fmla="*/ 2670 w 6630"/>
                <a:gd name="T77" fmla="*/ 1213 h 1565"/>
                <a:gd name="T78" fmla="*/ 4906 w 6630"/>
                <a:gd name="T79" fmla="*/ 1070 h 1565"/>
                <a:gd name="T80" fmla="*/ 4796 w 6630"/>
                <a:gd name="T81" fmla="*/ 1276 h 1565"/>
                <a:gd name="T82" fmla="*/ 4627 w 6630"/>
                <a:gd name="T83" fmla="*/ 1221 h 1565"/>
                <a:gd name="T84" fmla="*/ 4342 w 6630"/>
                <a:gd name="T85" fmla="*/ 1149 h 1565"/>
                <a:gd name="T86" fmla="*/ 4475 w 6630"/>
                <a:gd name="T87" fmla="*/ 1421 h 1565"/>
                <a:gd name="T88" fmla="*/ 4831 w 6630"/>
                <a:gd name="T89" fmla="*/ 1494 h 1565"/>
                <a:gd name="T90" fmla="*/ 5106 w 6630"/>
                <a:gd name="T91" fmla="*/ 1336 h 1565"/>
                <a:gd name="T92" fmla="*/ 6626 w 6630"/>
                <a:gd name="T93" fmla="*/ 838 h 1565"/>
                <a:gd name="T94" fmla="*/ 6501 w 6630"/>
                <a:gd name="T95" fmla="*/ 594 h 1565"/>
                <a:gd name="T96" fmla="*/ 6231 w 6630"/>
                <a:gd name="T97" fmla="*/ 567 h 1565"/>
                <a:gd name="T98" fmla="*/ 6057 w 6630"/>
                <a:gd name="T99" fmla="*/ 735 h 1565"/>
                <a:gd name="T100" fmla="*/ 5910 w 6630"/>
                <a:gd name="T101" fmla="*/ 572 h 1565"/>
                <a:gd name="T102" fmla="*/ 5667 w 6630"/>
                <a:gd name="T103" fmla="*/ 579 h 1565"/>
                <a:gd name="T104" fmla="*/ 5264 w 6630"/>
                <a:gd name="T105" fmla="*/ 1024 h 1565"/>
                <a:gd name="T106" fmla="*/ 5598 w 6630"/>
                <a:gd name="T107" fmla="*/ 820 h 1565"/>
                <a:gd name="T108" fmla="*/ 5767 w 6630"/>
                <a:gd name="T109" fmla="*/ 817 h 1565"/>
                <a:gd name="T110" fmla="*/ 6077 w 6630"/>
                <a:gd name="T111" fmla="*/ 1011 h 1565"/>
                <a:gd name="T112" fmla="*/ 6169 w 6630"/>
                <a:gd name="T113" fmla="*/ 804 h 1565"/>
                <a:gd name="T114" fmla="*/ 6344 w 6630"/>
                <a:gd name="T115" fmla="*/ 837 h 1565"/>
                <a:gd name="T116" fmla="*/ 1972 w 6630"/>
                <a:gd name="T117" fmla="*/ 324 h 1565"/>
                <a:gd name="T118" fmla="*/ 2079 w 6630"/>
                <a:gd name="T119" fmla="*/ 777 h 1565"/>
                <a:gd name="T120" fmla="*/ 1685 w 6630"/>
                <a:gd name="T121" fmla="*/ 247 h 1565"/>
                <a:gd name="T122" fmla="*/ 1910 w 6630"/>
                <a:gd name="T123" fmla="*/ 98 h 15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630" h="1565">
                  <a:moveTo>
                    <a:pt x="375" y="995"/>
                  </a:moveTo>
                  <a:lnTo>
                    <a:pt x="362" y="972"/>
                  </a:lnTo>
                  <a:lnTo>
                    <a:pt x="351" y="949"/>
                  </a:lnTo>
                  <a:lnTo>
                    <a:pt x="341" y="925"/>
                  </a:lnTo>
                  <a:lnTo>
                    <a:pt x="333" y="901"/>
                  </a:lnTo>
                  <a:lnTo>
                    <a:pt x="329" y="889"/>
                  </a:lnTo>
                  <a:lnTo>
                    <a:pt x="325" y="876"/>
                  </a:lnTo>
                  <a:lnTo>
                    <a:pt x="319" y="851"/>
                  </a:lnTo>
                  <a:lnTo>
                    <a:pt x="314" y="826"/>
                  </a:lnTo>
                  <a:lnTo>
                    <a:pt x="310" y="801"/>
                  </a:lnTo>
                  <a:lnTo>
                    <a:pt x="309" y="788"/>
                  </a:lnTo>
                  <a:lnTo>
                    <a:pt x="308" y="775"/>
                  </a:lnTo>
                  <a:lnTo>
                    <a:pt x="307" y="762"/>
                  </a:lnTo>
                  <a:lnTo>
                    <a:pt x="306" y="749"/>
                  </a:lnTo>
                  <a:lnTo>
                    <a:pt x="306" y="724"/>
                  </a:lnTo>
                  <a:lnTo>
                    <a:pt x="307" y="698"/>
                  </a:lnTo>
                  <a:lnTo>
                    <a:pt x="309" y="673"/>
                  </a:lnTo>
                  <a:lnTo>
                    <a:pt x="311" y="660"/>
                  </a:lnTo>
                  <a:lnTo>
                    <a:pt x="313" y="647"/>
                  </a:lnTo>
                  <a:lnTo>
                    <a:pt x="315" y="635"/>
                  </a:lnTo>
                  <a:lnTo>
                    <a:pt x="317" y="622"/>
                  </a:lnTo>
                  <a:lnTo>
                    <a:pt x="323" y="597"/>
                  </a:lnTo>
                  <a:lnTo>
                    <a:pt x="330" y="572"/>
                  </a:lnTo>
                  <a:lnTo>
                    <a:pt x="338" y="548"/>
                  </a:lnTo>
                  <a:lnTo>
                    <a:pt x="348" y="524"/>
                  </a:lnTo>
                  <a:lnTo>
                    <a:pt x="358" y="500"/>
                  </a:lnTo>
                  <a:lnTo>
                    <a:pt x="364" y="488"/>
                  </a:lnTo>
                  <a:lnTo>
                    <a:pt x="370" y="477"/>
                  </a:lnTo>
                  <a:lnTo>
                    <a:pt x="376" y="465"/>
                  </a:lnTo>
                  <a:lnTo>
                    <a:pt x="383" y="454"/>
                  </a:lnTo>
                  <a:lnTo>
                    <a:pt x="397" y="432"/>
                  </a:lnTo>
                  <a:lnTo>
                    <a:pt x="404" y="421"/>
                  </a:lnTo>
                  <a:lnTo>
                    <a:pt x="412" y="410"/>
                  </a:lnTo>
                  <a:lnTo>
                    <a:pt x="428" y="390"/>
                  </a:lnTo>
                  <a:lnTo>
                    <a:pt x="445" y="369"/>
                  </a:lnTo>
                  <a:lnTo>
                    <a:pt x="464" y="350"/>
                  </a:lnTo>
                  <a:lnTo>
                    <a:pt x="483" y="331"/>
                  </a:lnTo>
                  <a:lnTo>
                    <a:pt x="504" y="314"/>
                  </a:lnTo>
                  <a:lnTo>
                    <a:pt x="515" y="305"/>
                  </a:lnTo>
                  <a:lnTo>
                    <a:pt x="526" y="297"/>
                  </a:lnTo>
                  <a:lnTo>
                    <a:pt x="537" y="289"/>
                  </a:lnTo>
                  <a:lnTo>
                    <a:pt x="549" y="281"/>
                  </a:lnTo>
                  <a:lnTo>
                    <a:pt x="573" y="267"/>
                  </a:lnTo>
                  <a:lnTo>
                    <a:pt x="629" y="57"/>
                  </a:lnTo>
                  <a:lnTo>
                    <a:pt x="419" y="0"/>
                  </a:lnTo>
                  <a:lnTo>
                    <a:pt x="401" y="11"/>
                  </a:lnTo>
                  <a:lnTo>
                    <a:pt x="383" y="23"/>
                  </a:lnTo>
                  <a:lnTo>
                    <a:pt x="365" y="35"/>
                  </a:lnTo>
                  <a:lnTo>
                    <a:pt x="347" y="47"/>
                  </a:lnTo>
                  <a:lnTo>
                    <a:pt x="330" y="60"/>
                  </a:lnTo>
                  <a:lnTo>
                    <a:pt x="314" y="73"/>
                  </a:lnTo>
                  <a:lnTo>
                    <a:pt x="297" y="86"/>
                  </a:lnTo>
                  <a:lnTo>
                    <a:pt x="282" y="100"/>
                  </a:lnTo>
                  <a:lnTo>
                    <a:pt x="266" y="114"/>
                  </a:lnTo>
                  <a:lnTo>
                    <a:pt x="251" y="128"/>
                  </a:lnTo>
                  <a:lnTo>
                    <a:pt x="237" y="143"/>
                  </a:lnTo>
                  <a:lnTo>
                    <a:pt x="222" y="158"/>
                  </a:lnTo>
                  <a:lnTo>
                    <a:pt x="209" y="173"/>
                  </a:lnTo>
                  <a:lnTo>
                    <a:pt x="195" y="188"/>
                  </a:lnTo>
                  <a:lnTo>
                    <a:pt x="182" y="204"/>
                  </a:lnTo>
                  <a:lnTo>
                    <a:pt x="170" y="220"/>
                  </a:lnTo>
                  <a:lnTo>
                    <a:pt x="158" y="237"/>
                  </a:lnTo>
                  <a:lnTo>
                    <a:pt x="146" y="254"/>
                  </a:lnTo>
                  <a:lnTo>
                    <a:pt x="135" y="270"/>
                  </a:lnTo>
                  <a:lnTo>
                    <a:pt x="124" y="288"/>
                  </a:lnTo>
                  <a:lnTo>
                    <a:pt x="114" y="305"/>
                  </a:lnTo>
                  <a:lnTo>
                    <a:pt x="104" y="323"/>
                  </a:lnTo>
                  <a:lnTo>
                    <a:pt x="94" y="341"/>
                  </a:lnTo>
                  <a:lnTo>
                    <a:pt x="85" y="359"/>
                  </a:lnTo>
                  <a:lnTo>
                    <a:pt x="76" y="377"/>
                  </a:lnTo>
                  <a:lnTo>
                    <a:pt x="68" y="395"/>
                  </a:lnTo>
                  <a:lnTo>
                    <a:pt x="61" y="414"/>
                  </a:lnTo>
                  <a:lnTo>
                    <a:pt x="53" y="433"/>
                  </a:lnTo>
                  <a:lnTo>
                    <a:pt x="47" y="452"/>
                  </a:lnTo>
                  <a:lnTo>
                    <a:pt x="40" y="471"/>
                  </a:lnTo>
                  <a:lnTo>
                    <a:pt x="29" y="509"/>
                  </a:lnTo>
                  <a:lnTo>
                    <a:pt x="24" y="529"/>
                  </a:lnTo>
                  <a:lnTo>
                    <a:pt x="19" y="548"/>
                  </a:lnTo>
                  <a:lnTo>
                    <a:pt x="15" y="568"/>
                  </a:lnTo>
                  <a:lnTo>
                    <a:pt x="12" y="588"/>
                  </a:lnTo>
                  <a:lnTo>
                    <a:pt x="9" y="608"/>
                  </a:lnTo>
                  <a:lnTo>
                    <a:pt x="6" y="628"/>
                  </a:lnTo>
                  <a:lnTo>
                    <a:pt x="4" y="648"/>
                  </a:lnTo>
                  <a:lnTo>
                    <a:pt x="2" y="668"/>
                  </a:lnTo>
                  <a:lnTo>
                    <a:pt x="1" y="688"/>
                  </a:lnTo>
                  <a:lnTo>
                    <a:pt x="0" y="708"/>
                  </a:lnTo>
                  <a:lnTo>
                    <a:pt x="0" y="749"/>
                  </a:lnTo>
                  <a:lnTo>
                    <a:pt x="1" y="769"/>
                  </a:lnTo>
                  <a:lnTo>
                    <a:pt x="2" y="790"/>
                  </a:lnTo>
                  <a:lnTo>
                    <a:pt x="4" y="810"/>
                  </a:lnTo>
                  <a:lnTo>
                    <a:pt x="6" y="831"/>
                  </a:lnTo>
                  <a:lnTo>
                    <a:pt x="13" y="871"/>
                  </a:lnTo>
                  <a:lnTo>
                    <a:pt x="16" y="891"/>
                  </a:lnTo>
                  <a:lnTo>
                    <a:pt x="21" y="911"/>
                  </a:lnTo>
                  <a:lnTo>
                    <a:pt x="25" y="932"/>
                  </a:lnTo>
                  <a:lnTo>
                    <a:pt x="31" y="952"/>
                  </a:lnTo>
                  <a:lnTo>
                    <a:pt x="36" y="972"/>
                  </a:lnTo>
                  <a:lnTo>
                    <a:pt x="43" y="991"/>
                  </a:lnTo>
                  <a:lnTo>
                    <a:pt x="57" y="1031"/>
                  </a:lnTo>
                  <a:lnTo>
                    <a:pt x="65" y="1050"/>
                  </a:lnTo>
                  <a:lnTo>
                    <a:pt x="73" y="1070"/>
                  </a:lnTo>
                  <a:lnTo>
                    <a:pt x="82" y="1089"/>
                  </a:lnTo>
                  <a:lnTo>
                    <a:pt x="92" y="1108"/>
                  </a:lnTo>
                  <a:lnTo>
                    <a:pt x="102" y="1127"/>
                  </a:lnTo>
                  <a:lnTo>
                    <a:pt x="113" y="1146"/>
                  </a:lnTo>
                  <a:lnTo>
                    <a:pt x="124" y="1165"/>
                  </a:lnTo>
                  <a:lnTo>
                    <a:pt x="135" y="1183"/>
                  </a:lnTo>
                  <a:lnTo>
                    <a:pt x="147" y="1201"/>
                  </a:lnTo>
                  <a:lnTo>
                    <a:pt x="159" y="1218"/>
                  </a:lnTo>
                  <a:lnTo>
                    <a:pt x="172" y="1235"/>
                  </a:lnTo>
                  <a:lnTo>
                    <a:pt x="185" y="1252"/>
                  </a:lnTo>
                  <a:lnTo>
                    <a:pt x="198" y="1268"/>
                  </a:lnTo>
                  <a:lnTo>
                    <a:pt x="212" y="1284"/>
                  </a:lnTo>
                  <a:lnTo>
                    <a:pt x="226" y="1299"/>
                  </a:lnTo>
                  <a:lnTo>
                    <a:pt x="240" y="1314"/>
                  </a:lnTo>
                  <a:lnTo>
                    <a:pt x="255" y="1329"/>
                  </a:lnTo>
                  <a:lnTo>
                    <a:pt x="270" y="1343"/>
                  </a:lnTo>
                  <a:lnTo>
                    <a:pt x="285" y="1357"/>
                  </a:lnTo>
                  <a:lnTo>
                    <a:pt x="301" y="1370"/>
                  </a:lnTo>
                  <a:lnTo>
                    <a:pt x="317" y="1383"/>
                  </a:lnTo>
                  <a:lnTo>
                    <a:pt x="333" y="1396"/>
                  </a:lnTo>
                  <a:lnTo>
                    <a:pt x="349" y="1408"/>
                  </a:lnTo>
                  <a:lnTo>
                    <a:pt x="366" y="1419"/>
                  </a:lnTo>
                  <a:lnTo>
                    <a:pt x="383" y="1431"/>
                  </a:lnTo>
                  <a:lnTo>
                    <a:pt x="400" y="1441"/>
                  </a:lnTo>
                  <a:lnTo>
                    <a:pt x="417" y="1452"/>
                  </a:lnTo>
                  <a:lnTo>
                    <a:pt x="435" y="1462"/>
                  </a:lnTo>
                  <a:lnTo>
                    <a:pt x="453" y="1471"/>
                  </a:lnTo>
                  <a:lnTo>
                    <a:pt x="471" y="1480"/>
                  </a:lnTo>
                  <a:lnTo>
                    <a:pt x="489" y="1489"/>
                  </a:lnTo>
                  <a:lnTo>
                    <a:pt x="508" y="1497"/>
                  </a:lnTo>
                  <a:lnTo>
                    <a:pt x="526" y="1505"/>
                  </a:lnTo>
                  <a:lnTo>
                    <a:pt x="545" y="1512"/>
                  </a:lnTo>
                  <a:lnTo>
                    <a:pt x="564" y="1519"/>
                  </a:lnTo>
                  <a:lnTo>
                    <a:pt x="583" y="1525"/>
                  </a:lnTo>
                  <a:lnTo>
                    <a:pt x="622" y="1536"/>
                  </a:lnTo>
                  <a:lnTo>
                    <a:pt x="641" y="1541"/>
                  </a:lnTo>
                  <a:lnTo>
                    <a:pt x="661" y="1546"/>
                  </a:lnTo>
                  <a:lnTo>
                    <a:pt x="680" y="1550"/>
                  </a:lnTo>
                  <a:lnTo>
                    <a:pt x="700" y="1554"/>
                  </a:lnTo>
                  <a:lnTo>
                    <a:pt x="720" y="1557"/>
                  </a:lnTo>
                  <a:lnTo>
                    <a:pt x="740" y="1559"/>
                  </a:lnTo>
                  <a:lnTo>
                    <a:pt x="760" y="1561"/>
                  </a:lnTo>
                  <a:lnTo>
                    <a:pt x="780" y="1563"/>
                  </a:lnTo>
                  <a:lnTo>
                    <a:pt x="800" y="1564"/>
                  </a:lnTo>
                  <a:lnTo>
                    <a:pt x="821" y="1565"/>
                  </a:lnTo>
                  <a:lnTo>
                    <a:pt x="862" y="1565"/>
                  </a:lnTo>
                  <a:lnTo>
                    <a:pt x="882" y="1564"/>
                  </a:lnTo>
                  <a:lnTo>
                    <a:pt x="903" y="1563"/>
                  </a:lnTo>
                  <a:lnTo>
                    <a:pt x="923" y="1561"/>
                  </a:lnTo>
                  <a:lnTo>
                    <a:pt x="943" y="1559"/>
                  </a:lnTo>
                  <a:lnTo>
                    <a:pt x="984" y="1553"/>
                  </a:lnTo>
                  <a:lnTo>
                    <a:pt x="1004" y="1549"/>
                  </a:lnTo>
                  <a:lnTo>
                    <a:pt x="1024" y="1545"/>
                  </a:lnTo>
                  <a:lnTo>
                    <a:pt x="1044" y="1540"/>
                  </a:lnTo>
                  <a:lnTo>
                    <a:pt x="1064" y="1535"/>
                  </a:lnTo>
                  <a:lnTo>
                    <a:pt x="1084" y="1529"/>
                  </a:lnTo>
                  <a:lnTo>
                    <a:pt x="1104" y="1522"/>
                  </a:lnTo>
                  <a:lnTo>
                    <a:pt x="1143" y="1508"/>
                  </a:lnTo>
                  <a:lnTo>
                    <a:pt x="1163" y="1500"/>
                  </a:lnTo>
                  <a:lnTo>
                    <a:pt x="1182" y="1492"/>
                  </a:lnTo>
                  <a:lnTo>
                    <a:pt x="1202" y="1483"/>
                  </a:lnTo>
                  <a:lnTo>
                    <a:pt x="1221" y="1473"/>
                  </a:lnTo>
                  <a:lnTo>
                    <a:pt x="1240" y="1463"/>
                  </a:lnTo>
                  <a:lnTo>
                    <a:pt x="1259" y="1453"/>
                  </a:lnTo>
                  <a:lnTo>
                    <a:pt x="1105" y="1187"/>
                  </a:lnTo>
                  <a:lnTo>
                    <a:pt x="1080" y="1200"/>
                  </a:lnTo>
                  <a:lnTo>
                    <a:pt x="1067" y="1206"/>
                  </a:lnTo>
                  <a:lnTo>
                    <a:pt x="1055" y="1212"/>
                  </a:lnTo>
                  <a:lnTo>
                    <a:pt x="1029" y="1223"/>
                  </a:lnTo>
                  <a:lnTo>
                    <a:pt x="1016" y="1227"/>
                  </a:lnTo>
                  <a:lnTo>
                    <a:pt x="1004" y="1232"/>
                  </a:lnTo>
                  <a:lnTo>
                    <a:pt x="991" y="1236"/>
                  </a:lnTo>
                  <a:lnTo>
                    <a:pt x="978" y="1240"/>
                  </a:lnTo>
                  <a:lnTo>
                    <a:pt x="965" y="1243"/>
                  </a:lnTo>
                  <a:lnTo>
                    <a:pt x="952" y="1246"/>
                  </a:lnTo>
                  <a:lnTo>
                    <a:pt x="939" y="1248"/>
                  </a:lnTo>
                  <a:lnTo>
                    <a:pt x="926" y="1251"/>
                  </a:lnTo>
                  <a:lnTo>
                    <a:pt x="899" y="1254"/>
                  </a:lnTo>
                  <a:lnTo>
                    <a:pt x="873" y="1257"/>
                  </a:lnTo>
                  <a:lnTo>
                    <a:pt x="860" y="1257"/>
                  </a:lnTo>
                  <a:lnTo>
                    <a:pt x="847" y="1258"/>
                  </a:lnTo>
                  <a:lnTo>
                    <a:pt x="820" y="1257"/>
                  </a:lnTo>
                  <a:lnTo>
                    <a:pt x="794" y="1256"/>
                  </a:lnTo>
                  <a:lnTo>
                    <a:pt x="768" y="1253"/>
                  </a:lnTo>
                  <a:lnTo>
                    <a:pt x="756" y="1251"/>
                  </a:lnTo>
                  <a:lnTo>
                    <a:pt x="743" y="1249"/>
                  </a:lnTo>
                  <a:lnTo>
                    <a:pt x="730" y="1247"/>
                  </a:lnTo>
                  <a:lnTo>
                    <a:pt x="718" y="1244"/>
                  </a:lnTo>
                  <a:lnTo>
                    <a:pt x="693" y="1238"/>
                  </a:lnTo>
                  <a:lnTo>
                    <a:pt x="680" y="1234"/>
                  </a:lnTo>
                  <a:lnTo>
                    <a:pt x="668" y="1230"/>
                  </a:lnTo>
                  <a:lnTo>
                    <a:pt x="644" y="1222"/>
                  </a:lnTo>
                  <a:lnTo>
                    <a:pt x="632" y="1217"/>
                  </a:lnTo>
                  <a:lnTo>
                    <a:pt x="620" y="1212"/>
                  </a:lnTo>
                  <a:lnTo>
                    <a:pt x="597" y="1201"/>
                  </a:lnTo>
                  <a:lnTo>
                    <a:pt x="574" y="1189"/>
                  </a:lnTo>
                  <a:lnTo>
                    <a:pt x="552" y="1176"/>
                  </a:lnTo>
                  <a:lnTo>
                    <a:pt x="541" y="1170"/>
                  </a:lnTo>
                  <a:lnTo>
                    <a:pt x="531" y="1162"/>
                  </a:lnTo>
                  <a:lnTo>
                    <a:pt x="520" y="1155"/>
                  </a:lnTo>
                  <a:lnTo>
                    <a:pt x="510" y="1148"/>
                  </a:lnTo>
                  <a:lnTo>
                    <a:pt x="490" y="1132"/>
                  </a:lnTo>
                  <a:lnTo>
                    <a:pt x="471" y="1115"/>
                  </a:lnTo>
                  <a:lnTo>
                    <a:pt x="453" y="1097"/>
                  </a:lnTo>
                  <a:lnTo>
                    <a:pt x="444" y="1088"/>
                  </a:lnTo>
                  <a:lnTo>
                    <a:pt x="435" y="1078"/>
                  </a:lnTo>
                  <a:lnTo>
                    <a:pt x="418" y="1059"/>
                  </a:lnTo>
                  <a:lnTo>
                    <a:pt x="403" y="1038"/>
                  </a:lnTo>
                  <a:lnTo>
                    <a:pt x="395" y="1028"/>
                  </a:lnTo>
                  <a:lnTo>
                    <a:pt x="388" y="1017"/>
                  </a:lnTo>
                  <a:lnTo>
                    <a:pt x="381" y="1006"/>
                  </a:lnTo>
                  <a:lnTo>
                    <a:pt x="375" y="995"/>
                  </a:lnTo>
                  <a:close/>
                  <a:moveTo>
                    <a:pt x="431" y="962"/>
                  </a:moveTo>
                  <a:lnTo>
                    <a:pt x="443" y="982"/>
                  </a:lnTo>
                  <a:lnTo>
                    <a:pt x="456" y="1000"/>
                  </a:lnTo>
                  <a:lnTo>
                    <a:pt x="469" y="1018"/>
                  </a:lnTo>
                  <a:lnTo>
                    <a:pt x="484" y="1035"/>
                  </a:lnTo>
                  <a:lnTo>
                    <a:pt x="499" y="1052"/>
                  </a:lnTo>
                  <a:lnTo>
                    <a:pt x="516" y="1067"/>
                  </a:lnTo>
                  <a:lnTo>
                    <a:pt x="532" y="1082"/>
                  </a:lnTo>
                  <a:lnTo>
                    <a:pt x="550" y="1096"/>
                  </a:lnTo>
                  <a:lnTo>
                    <a:pt x="568" y="1109"/>
                  </a:lnTo>
                  <a:lnTo>
                    <a:pt x="587" y="1121"/>
                  </a:lnTo>
                  <a:lnTo>
                    <a:pt x="597" y="1127"/>
                  </a:lnTo>
                  <a:lnTo>
                    <a:pt x="606" y="1133"/>
                  </a:lnTo>
                  <a:lnTo>
                    <a:pt x="626" y="1143"/>
                  </a:lnTo>
                  <a:lnTo>
                    <a:pt x="647" y="1153"/>
                  </a:lnTo>
                  <a:lnTo>
                    <a:pt x="667" y="1161"/>
                  </a:lnTo>
                  <a:lnTo>
                    <a:pt x="678" y="1165"/>
                  </a:lnTo>
                  <a:lnTo>
                    <a:pt x="689" y="1169"/>
                  </a:lnTo>
                  <a:lnTo>
                    <a:pt x="710" y="1175"/>
                  </a:lnTo>
                  <a:lnTo>
                    <a:pt x="721" y="1178"/>
                  </a:lnTo>
                  <a:lnTo>
                    <a:pt x="732" y="1181"/>
                  </a:lnTo>
                  <a:lnTo>
                    <a:pt x="743" y="1183"/>
                  </a:lnTo>
                  <a:lnTo>
                    <a:pt x="754" y="1185"/>
                  </a:lnTo>
                  <a:lnTo>
                    <a:pt x="777" y="1189"/>
                  </a:lnTo>
                  <a:lnTo>
                    <a:pt x="799" y="1191"/>
                  </a:lnTo>
                  <a:lnTo>
                    <a:pt x="811" y="1192"/>
                  </a:lnTo>
                  <a:lnTo>
                    <a:pt x="822" y="1193"/>
                  </a:lnTo>
                  <a:lnTo>
                    <a:pt x="846" y="1193"/>
                  </a:lnTo>
                  <a:lnTo>
                    <a:pt x="858" y="1193"/>
                  </a:lnTo>
                  <a:lnTo>
                    <a:pt x="869" y="1192"/>
                  </a:lnTo>
                  <a:lnTo>
                    <a:pt x="892" y="1190"/>
                  </a:lnTo>
                  <a:lnTo>
                    <a:pt x="904" y="1188"/>
                  </a:lnTo>
                  <a:lnTo>
                    <a:pt x="915" y="1187"/>
                  </a:lnTo>
                  <a:lnTo>
                    <a:pt x="938" y="1182"/>
                  </a:lnTo>
                  <a:lnTo>
                    <a:pt x="961" y="1177"/>
                  </a:lnTo>
                  <a:lnTo>
                    <a:pt x="984" y="1170"/>
                  </a:lnTo>
                  <a:lnTo>
                    <a:pt x="1006" y="1162"/>
                  </a:lnTo>
                  <a:lnTo>
                    <a:pt x="1028" y="1153"/>
                  </a:lnTo>
                  <a:lnTo>
                    <a:pt x="1039" y="1148"/>
                  </a:lnTo>
                  <a:lnTo>
                    <a:pt x="1050" y="1142"/>
                  </a:lnTo>
                  <a:lnTo>
                    <a:pt x="1072" y="1130"/>
                  </a:lnTo>
                  <a:lnTo>
                    <a:pt x="1093" y="1117"/>
                  </a:lnTo>
                  <a:lnTo>
                    <a:pt x="1104" y="1111"/>
                  </a:lnTo>
                  <a:lnTo>
                    <a:pt x="1114" y="1103"/>
                  </a:lnTo>
                  <a:lnTo>
                    <a:pt x="1133" y="1089"/>
                  </a:lnTo>
                  <a:lnTo>
                    <a:pt x="1151" y="1073"/>
                  </a:lnTo>
                  <a:lnTo>
                    <a:pt x="1160" y="1065"/>
                  </a:lnTo>
                  <a:lnTo>
                    <a:pt x="1169" y="1057"/>
                  </a:lnTo>
                  <a:lnTo>
                    <a:pt x="1185" y="1040"/>
                  </a:lnTo>
                  <a:lnTo>
                    <a:pt x="1200" y="1022"/>
                  </a:lnTo>
                  <a:lnTo>
                    <a:pt x="1215" y="1004"/>
                  </a:lnTo>
                  <a:lnTo>
                    <a:pt x="1228" y="985"/>
                  </a:lnTo>
                  <a:lnTo>
                    <a:pt x="1240" y="965"/>
                  </a:lnTo>
                  <a:lnTo>
                    <a:pt x="1246" y="955"/>
                  </a:lnTo>
                  <a:lnTo>
                    <a:pt x="1251" y="945"/>
                  </a:lnTo>
                  <a:lnTo>
                    <a:pt x="1262" y="925"/>
                  </a:lnTo>
                  <a:lnTo>
                    <a:pt x="1271" y="904"/>
                  </a:lnTo>
                  <a:lnTo>
                    <a:pt x="1279" y="883"/>
                  </a:lnTo>
                  <a:lnTo>
                    <a:pt x="1286" y="862"/>
                  </a:lnTo>
                  <a:lnTo>
                    <a:pt x="1292" y="840"/>
                  </a:lnTo>
                  <a:lnTo>
                    <a:pt x="1297" y="818"/>
                  </a:lnTo>
                  <a:lnTo>
                    <a:pt x="1301" y="796"/>
                  </a:lnTo>
                  <a:lnTo>
                    <a:pt x="1304" y="772"/>
                  </a:lnTo>
                  <a:lnTo>
                    <a:pt x="1306" y="750"/>
                  </a:lnTo>
                  <a:lnTo>
                    <a:pt x="1307" y="728"/>
                  </a:lnTo>
                  <a:lnTo>
                    <a:pt x="1307" y="705"/>
                  </a:lnTo>
                  <a:lnTo>
                    <a:pt x="1306" y="683"/>
                  </a:lnTo>
                  <a:lnTo>
                    <a:pt x="1303" y="661"/>
                  </a:lnTo>
                  <a:lnTo>
                    <a:pt x="1300" y="639"/>
                  </a:lnTo>
                  <a:lnTo>
                    <a:pt x="1296" y="617"/>
                  </a:lnTo>
                  <a:lnTo>
                    <a:pt x="1290" y="595"/>
                  </a:lnTo>
                  <a:lnTo>
                    <a:pt x="1284" y="573"/>
                  </a:lnTo>
                  <a:lnTo>
                    <a:pt x="1276" y="552"/>
                  </a:lnTo>
                  <a:lnTo>
                    <a:pt x="1272" y="542"/>
                  </a:lnTo>
                  <a:lnTo>
                    <a:pt x="1267" y="531"/>
                  </a:lnTo>
                  <a:lnTo>
                    <a:pt x="1262" y="521"/>
                  </a:lnTo>
                  <a:lnTo>
                    <a:pt x="1257" y="511"/>
                  </a:lnTo>
                  <a:lnTo>
                    <a:pt x="1247" y="491"/>
                  </a:lnTo>
                  <a:lnTo>
                    <a:pt x="1235" y="472"/>
                  </a:lnTo>
                  <a:lnTo>
                    <a:pt x="1222" y="453"/>
                  </a:lnTo>
                  <a:lnTo>
                    <a:pt x="1208" y="435"/>
                  </a:lnTo>
                  <a:lnTo>
                    <a:pt x="1194" y="418"/>
                  </a:lnTo>
                  <a:lnTo>
                    <a:pt x="1178" y="401"/>
                  </a:lnTo>
                  <a:lnTo>
                    <a:pt x="1162" y="386"/>
                  </a:lnTo>
                  <a:lnTo>
                    <a:pt x="1145" y="371"/>
                  </a:lnTo>
                  <a:lnTo>
                    <a:pt x="1128" y="357"/>
                  </a:lnTo>
                  <a:lnTo>
                    <a:pt x="1119" y="350"/>
                  </a:lnTo>
                  <a:lnTo>
                    <a:pt x="1110" y="344"/>
                  </a:lnTo>
                  <a:lnTo>
                    <a:pt x="1091" y="332"/>
                  </a:lnTo>
                  <a:lnTo>
                    <a:pt x="1082" y="326"/>
                  </a:lnTo>
                  <a:lnTo>
                    <a:pt x="1072" y="320"/>
                  </a:lnTo>
                  <a:lnTo>
                    <a:pt x="1052" y="310"/>
                  </a:lnTo>
                  <a:lnTo>
                    <a:pt x="1032" y="300"/>
                  </a:lnTo>
                  <a:lnTo>
                    <a:pt x="1011" y="292"/>
                  </a:lnTo>
                  <a:lnTo>
                    <a:pt x="1000" y="288"/>
                  </a:lnTo>
                  <a:lnTo>
                    <a:pt x="990" y="284"/>
                  </a:lnTo>
                  <a:lnTo>
                    <a:pt x="968" y="278"/>
                  </a:lnTo>
                  <a:lnTo>
                    <a:pt x="957" y="275"/>
                  </a:lnTo>
                  <a:lnTo>
                    <a:pt x="946" y="272"/>
                  </a:lnTo>
                  <a:lnTo>
                    <a:pt x="935" y="270"/>
                  </a:lnTo>
                  <a:lnTo>
                    <a:pt x="924" y="267"/>
                  </a:lnTo>
                  <a:lnTo>
                    <a:pt x="902" y="264"/>
                  </a:lnTo>
                  <a:lnTo>
                    <a:pt x="879" y="261"/>
                  </a:lnTo>
                  <a:lnTo>
                    <a:pt x="868" y="261"/>
                  </a:lnTo>
                  <a:lnTo>
                    <a:pt x="856" y="260"/>
                  </a:lnTo>
                  <a:lnTo>
                    <a:pt x="833" y="260"/>
                  </a:lnTo>
                  <a:lnTo>
                    <a:pt x="821" y="260"/>
                  </a:lnTo>
                  <a:lnTo>
                    <a:pt x="809" y="261"/>
                  </a:lnTo>
                  <a:lnTo>
                    <a:pt x="786" y="263"/>
                  </a:lnTo>
                  <a:lnTo>
                    <a:pt x="775" y="264"/>
                  </a:lnTo>
                  <a:lnTo>
                    <a:pt x="763" y="266"/>
                  </a:lnTo>
                  <a:lnTo>
                    <a:pt x="740" y="270"/>
                  </a:lnTo>
                  <a:lnTo>
                    <a:pt x="718" y="276"/>
                  </a:lnTo>
                  <a:lnTo>
                    <a:pt x="695" y="283"/>
                  </a:lnTo>
                  <a:lnTo>
                    <a:pt x="672" y="291"/>
                  </a:lnTo>
                  <a:lnTo>
                    <a:pt x="650" y="300"/>
                  </a:lnTo>
                  <a:lnTo>
                    <a:pt x="627" y="311"/>
                  </a:lnTo>
                  <a:lnTo>
                    <a:pt x="605" y="323"/>
                  </a:lnTo>
                  <a:lnTo>
                    <a:pt x="584" y="336"/>
                  </a:lnTo>
                  <a:lnTo>
                    <a:pt x="564" y="350"/>
                  </a:lnTo>
                  <a:lnTo>
                    <a:pt x="545" y="364"/>
                  </a:lnTo>
                  <a:lnTo>
                    <a:pt x="527" y="380"/>
                  </a:lnTo>
                  <a:lnTo>
                    <a:pt x="518" y="388"/>
                  </a:lnTo>
                  <a:lnTo>
                    <a:pt x="510" y="396"/>
                  </a:lnTo>
                  <a:lnTo>
                    <a:pt x="493" y="413"/>
                  </a:lnTo>
                  <a:lnTo>
                    <a:pt x="478" y="431"/>
                  </a:lnTo>
                  <a:lnTo>
                    <a:pt x="471" y="440"/>
                  </a:lnTo>
                  <a:lnTo>
                    <a:pt x="464" y="449"/>
                  </a:lnTo>
                  <a:lnTo>
                    <a:pt x="451" y="468"/>
                  </a:lnTo>
                  <a:lnTo>
                    <a:pt x="438" y="487"/>
                  </a:lnTo>
                  <a:lnTo>
                    <a:pt x="433" y="497"/>
                  </a:lnTo>
                  <a:lnTo>
                    <a:pt x="427" y="507"/>
                  </a:lnTo>
                  <a:lnTo>
                    <a:pt x="417" y="528"/>
                  </a:lnTo>
                  <a:lnTo>
                    <a:pt x="408" y="549"/>
                  </a:lnTo>
                  <a:lnTo>
                    <a:pt x="404" y="559"/>
                  </a:lnTo>
                  <a:lnTo>
                    <a:pt x="400" y="570"/>
                  </a:lnTo>
                  <a:lnTo>
                    <a:pt x="392" y="591"/>
                  </a:lnTo>
                  <a:lnTo>
                    <a:pt x="386" y="613"/>
                  </a:lnTo>
                  <a:lnTo>
                    <a:pt x="384" y="624"/>
                  </a:lnTo>
                  <a:lnTo>
                    <a:pt x="381" y="635"/>
                  </a:lnTo>
                  <a:lnTo>
                    <a:pt x="379" y="646"/>
                  </a:lnTo>
                  <a:lnTo>
                    <a:pt x="377" y="657"/>
                  </a:lnTo>
                  <a:lnTo>
                    <a:pt x="374" y="679"/>
                  </a:lnTo>
                  <a:lnTo>
                    <a:pt x="372" y="702"/>
                  </a:lnTo>
                  <a:lnTo>
                    <a:pt x="371" y="724"/>
                  </a:lnTo>
                  <a:lnTo>
                    <a:pt x="371" y="747"/>
                  </a:lnTo>
                  <a:lnTo>
                    <a:pt x="372" y="758"/>
                  </a:lnTo>
                  <a:lnTo>
                    <a:pt x="372" y="769"/>
                  </a:lnTo>
                  <a:lnTo>
                    <a:pt x="373" y="781"/>
                  </a:lnTo>
                  <a:lnTo>
                    <a:pt x="375" y="792"/>
                  </a:lnTo>
                  <a:lnTo>
                    <a:pt x="378" y="815"/>
                  </a:lnTo>
                  <a:lnTo>
                    <a:pt x="382" y="837"/>
                  </a:lnTo>
                  <a:lnTo>
                    <a:pt x="388" y="858"/>
                  </a:lnTo>
                  <a:lnTo>
                    <a:pt x="394" y="880"/>
                  </a:lnTo>
                  <a:lnTo>
                    <a:pt x="402" y="901"/>
                  </a:lnTo>
                  <a:lnTo>
                    <a:pt x="406" y="911"/>
                  </a:lnTo>
                  <a:lnTo>
                    <a:pt x="410" y="922"/>
                  </a:lnTo>
                  <a:lnTo>
                    <a:pt x="415" y="932"/>
                  </a:lnTo>
                  <a:lnTo>
                    <a:pt x="420" y="942"/>
                  </a:lnTo>
                  <a:lnTo>
                    <a:pt x="431" y="962"/>
                  </a:lnTo>
                  <a:close/>
                  <a:moveTo>
                    <a:pt x="3652" y="820"/>
                  </a:moveTo>
                  <a:lnTo>
                    <a:pt x="3636" y="813"/>
                  </a:lnTo>
                  <a:lnTo>
                    <a:pt x="3621" y="807"/>
                  </a:lnTo>
                  <a:lnTo>
                    <a:pt x="3606" y="802"/>
                  </a:lnTo>
                  <a:lnTo>
                    <a:pt x="3593" y="799"/>
                  </a:lnTo>
                  <a:lnTo>
                    <a:pt x="3579" y="796"/>
                  </a:lnTo>
                  <a:lnTo>
                    <a:pt x="3564" y="795"/>
                  </a:lnTo>
                  <a:lnTo>
                    <a:pt x="3549" y="794"/>
                  </a:lnTo>
                  <a:lnTo>
                    <a:pt x="3533" y="793"/>
                  </a:lnTo>
                  <a:lnTo>
                    <a:pt x="3520" y="794"/>
                  </a:lnTo>
                  <a:lnTo>
                    <a:pt x="3507" y="795"/>
                  </a:lnTo>
                  <a:lnTo>
                    <a:pt x="3494" y="796"/>
                  </a:lnTo>
                  <a:lnTo>
                    <a:pt x="3488" y="797"/>
                  </a:lnTo>
                  <a:lnTo>
                    <a:pt x="3482" y="798"/>
                  </a:lnTo>
                  <a:lnTo>
                    <a:pt x="3470" y="801"/>
                  </a:lnTo>
                  <a:lnTo>
                    <a:pt x="3458" y="804"/>
                  </a:lnTo>
                  <a:lnTo>
                    <a:pt x="3447" y="808"/>
                  </a:lnTo>
                  <a:lnTo>
                    <a:pt x="3437" y="813"/>
                  </a:lnTo>
                  <a:lnTo>
                    <a:pt x="3426" y="818"/>
                  </a:lnTo>
                  <a:lnTo>
                    <a:pt x="3417" y="824"/>
                  </a:lnTo>
                  <a:lnTo>
                    <a:pt x="3407" y="830"/>
                  </a:lnTo>
                  <a:lnTo>
                    <a:pt x="3398" y="837"/>
                  </a:lnTo>
                  <a:lnTo>
                    <a:pt x="3389" y="844"/>
                  </a:lnTo>
                  <a:lnTo>
                    <a:pt x="3381" y="852"/>
                  </a:lnTo>
                  <a:lnTo>
                    <a:pt x="3373" y="860"/>
                  </a:lnTo>
                  <a:lnTo>
                    <a:pt x="3366" y="869"/>
                  </a:lnTo>
                  <a:lnTo>
                    <a:pt x="3359" y="878"/>
                  </a:lnTo>
                  <a:lnTo>
                    <a:pt x="3352" y="888"/>
                  </a:lnTo>
                  <a:lnTo>
                    <a:pt x="3346" y="899"/>
                  </a:lnTo>
                  <a:lnTo>
                    <a:pt x="3340" y="910"/>
                  </a:lnTo>
                  <a:lnTo>
                    <a:pt x="3335" y="921"/>
                  </a:lnTo>
                  <a:lnTo>
                    <a:pt x="3330" y="933"/>
                  </a:lnTo>
                  <a:lnTo>
                    <a:pt x="3325" y="945"/>
                  </a:lnTo>
                  <a:lnTo>
                    <a:pt x="3321" y="958"/>
                  </a:lnTo>
                  <a:lnTo>
                    <a:pt x="3318" y="971"/>
                  </a:lnTo>
                  <a:lnTo>
                    <a:pt x="3315" y="985"/>
                  </a:lnTo>
                  <a:lnTo>
                    <a:pt x="3312" y="999"/>
                  </a:lnTo>
                  <a:lnTo>
                    <a:pt x="3310" y="1013"/>
                  </a:lnTo>
                  <a:lnTo>
                    <a:pt x="3308" y="1028"/>
                  </a:lnTo>
                  <a:lnTo>
                    <a:pt x="3307" y="1044"/>
                  </a:lnTo>
                  <a:lnTo>
                    <a:pt x="3306" y="1059"/>
                  </a:lnTo>
                  <a:lnTo>
                    <a:pt x="3306" y="1076"/>
                  </a:lnTo>
                  <a:lnTo>
                    <a:pt x="3306" y="1478"/>
                  </a:lnTo>
                  <a:lnTo>
                    <a:pt x="3048" y="1478"/>
                  </a:lnTo>
                  <a:lnTo>
                    <a:pt x="3048" y="1024"/>
                  </a:lnTo>
                  <a:lnTo>
                    <a:pt x="3048" y="570"/>
                  </a:lnTo>
                  <a:lnTo>
                    <a:pt x="3297" y="570"/>
                  </a:lnTo>
                  <a:lnTo>
                    <a:pt x="3297" y="776"/>
                  </a:lnTo>
                  <a:lnTo>
                    <a:pt x="3300" y="764"/>
                  </a:lnTo>
                  <a:lnTo>
                    <a:pt x="3304" y="751"/>
                  </a:lnTo>
                  <a:lnTo>
                    <a:pt x="3308" y="739"/>
                  </a:lnTo>
                  <a:lnTo>
                    <a:pt x="3312" y="727"/>
                  </a:lnTo>
                  <a:lnTo>
                    <a:pt x="3317" y="716"/>
                  </a:lnTo>
                  <a:lnTo>
                    <a:pt x="3322" y="705"/>
                  </a:lnTo>
                  <a:lnTo>
                    <a:pt x="3327" y="694"/>
                  </a:lnTo>
                  <a:lnTo>
                    <a:pt x="3333" y="684"/>
                  </a:lnTo>
                  <a:lnTo>
                    <a:pt x="3339" y="674"/>
                  </a:lnTo>
                  <a:lnTo>
                    <a:pt x="3346" y="664"/>
                  </a:lnTo>
                  <a:lnTo>
                    <a:pt x="3352" y="655"/>
                  </a:lnTo>
                  <a:lnTo>
                    <a:pt x="3360" y="646"/>
                  </a:lnTo>
                  <a:lnTo>
                    <a:pt x="3367" y="638"/>
                  </a:lnTo>
                  <a:lnTo>
                    <a:pt x="3375" y="630"/>
                  </a:lnTo>
                  <a:lnTo>
                    <a:pt x="3383" y="622"/>
                  </a:lnTo>
                  <a:lnTo>
                    <a:pt x="3392" y="615"/>
                  </a:lnTo>
                  <a:lnTo>
                    <a:pt x="3396" y="611"/>
                  </a:lnTo>
                  <a:lnTo>
                    <a:pt x="3401" y="608"/>
                  </a:lnTo>
                  <a:lnTo>
                    <a:pt x="3410" y="601"/>
                  </a:lnTo>
                  <a:lnTo>
                    <a:pt x="3419" y="595"/>
                  </a:lnTo>
                  <a:lnTo>
                    <a:pt x="3429" y="590"/>
                  </a:lnTo>
                  <a:lnTo>
                    <a:pt x="3439" y="585"/>
                  </a:lnTo>
                  <a:lnTo>
                    <a:pt x="3450" y="580"/>
                  </a:lnTo>
                  <a:lnTo>
                    <a:pt x="3461" y="576"/>
                  </a:lnTo>
                  <a:lnTo>
                    <a:pt x="3472" y="572"/>
                  </a:lnTo>
                  <a:lnTo>
                    <a:pt x="3483" y="568"/>
                  </a:lnTo>
                  <a:lnTo>
                    <a:pt x="3495" y="565"/>
                  </a:lnTo>
                  <a:lnTo>
                    <a:pt x="3507" y="563"/>
                  </a:lnTo>
                  <a:lnTo>
                    <a:pt x="3519" y="561"/>
                  </a:lnTo>
                  <a:lnTo>
                    <a:pt x="3531" y="559"/>
                  </a:lnTo>
                  <a:lnTo>
                    <a:pt x="3544" y="558"/>
                  </a:lnTo>
                  <a:lnTo>
                    <a:pt x="3557" y="557"/>
                  </a:lnTo>
                  <a:lnTo>
                    <a:pt x="3571" y="557"/>
                  </a:lnTo>
                  <a:lnTo>
                    <a:pt x="3589" y="557"/>
                  </a:lnTo>
                  <a:lnTo>
                    <a:pt x="3599" y="558"/>
                  </a:lnTo>
                  <a:lnTo>
                    <a:pt x="3609" y="559"/>
                  </a:lnTo>
                  <a:lnTo>
                    <a:pt x="3629" y="562"/>
                  </a:lnTo>
                  <a:lnTo>
                    <a:pt x="3652" y="566"/>
                  </a:lnTo>
                  <a:lnTo>
                    <a:pt x="3652" y="820"/>
                  </a:lnTo>
                  <a:close/>
                  <a:moveTo>
                    <a:pt x="4253" y="1478"/>
                  </a:moveTo>
                  <a:lnTo>
                    <a:pt x="4253" y="1275"/>
                  </a:lnTo>
                  <a:lnTo>
                    <a:pt x="4238" y="1278"/>
                  </a:lnTo>
                  <a:lnTo>
                    <a:pt x="4224" y="1281"/>
                  </a:lnTo>
                  <a:lnTo>
                    <a:pt x="4211" y="1283"/>
                  </a:lnTo>
                  <a:lnTo>
                    <a:pt x="4199" y="1284"/>
                  </a:lnTo>
                  <a:lnTo>
                    <a:pt x="4174" y="1286"/>
                  </a:lnTo>
                  <a:lnTo>
                    <a:pt x="4147" y="1286"/>
                  </a:lnTo>
                  <a:lnTo>
                    <a:pt x="4125" y="1286"/>
                  </a:lnTo>
                  <a:lnTo>
                    <a:pt x="4116" y="1285"/>
                  </a:lnTo>
                  <a:lnTo>
                    <a:pt x="4106" y="1284"/>
                  </a:lnTo>
                  <a:lnTo>
                    <a:pt x="4089" y="1281"/>
                  </a:lnTo>
                  <a:lnTo>
                    <a:pt x="4081" y="1280"/>
                  </a:lnTo>
                  <a:lnTo>
                    <a:pt x="4074" y="1278"/>
                  </a:lnTo>
                  <a:lnTo>
                    <a:pt x="4066" y="1275"/>
                  </a:lnTo>
                  <a:lnTo>
                    <a:pt x="4060" y="1272"/>
                  </a:lnTo>
                  <a:lnTo>
                    <a:pt x="4053" y="1269"/>
                  </a:lnTo>
                  <a:lnTo>
                    <a:pt x="4047" y="1266"/>
                  </a:lnTo>
                  <a:lnTo>
                    <a:pt x="4042" y="1262"/>
                  </a:lnTo>
                  <a:lnTo>
                    <a:pt x="4036" y="1258"/>
                  </a:lnTo>
                  <a:lnTo>
                    <a:pt x="4031" y="1253"/>
                  </a:lnTo>
                  <a:lnTo>
                    <a:pt x="4027" y="1248"/>
                  </a:lnTo>
                  <a:lnTo>
                    <a:pt x="4022" y="1243"/>
                  </a:lnTo>
                  <a:lnTo>
                    <a:pt x="4019" y="1238"/>
                  </a:lnTo>
                  <a:lnTo>
                    <a:pt x="4012" y="1225"/>
                  </a:lnTo>
                  <a:lnTo>
                    <a:pt x="4009" y="1218"/>
                  </a:lnTo>
                  <a:lnTo>
                    <a:pt x="4006" y="1211"/>
                  </a:lnTo>
                  <a:lnTo>
                    <a:pt x="4004" y="1203"/>
                  </a:lnTo>
                  <a:lnTo>
                    <a:pt x="4001" y="1195"/>
                  </a:lnTo>
                  <a:lnTo>
                    <a:pt x="3998" y="1178"/>
                  </a:lnTo>
                  <a:lnTo>
                    <a:pt x="3997" y="1168"/>
                  </a:lnTo>
                  <a:lnTo>
                    <a:pt x="3996" y="1158"/>
                  </a:lnTo>
                  <a:lnTo>
                    <a:pt x="3994" y="1137"/>
                  </a:lnTo>
                  <a:lnTo>
                    <a:pt x="3994" y="1114"/>
                  </a:lnTo>
                  <a:lnTo>
                    <a:pt x="3994" y="775"/>
                  </a:lnTo>
                  <a:lnTo>
                    <a:pt x="4242" y="775"/>
                  </a:lnTo>
                  <a:lnTo>
                    <a:pt x="4242" y="574"/>
                  </a:lnTo>
                  <a:lnTo>
                    <a:pt x="3994" y="574"/>
                  </a:lnTo>
                  <a:lnTo>
                    <a:pt x="3994" y="280"/>
                  </a:lnTo>
                  <a:lnTo>
                    <a:pt x="3736" y="426"/>
                  </a:lnTo>
                  <a:lnTo>
                    <a:pt x="3736" y="1160"/>
                  </a:lnTo>
                  <a:lnTo>
                    <a:pt x="3736" y="1182"/>
                  </a:lnTo>
                  <a:lnTo>
                    <a:pt x="3737" y="1202"/>
                  </a:lnTo>
                  <a:lnTo>
                    <a:pt x="3739" y="1222"/>
                  </a:lnTo>
                  <a:lnTo>
                    <a:pt x="3741" y="1241"/>
                  </a:lnTo>
                  <a:lnTo>
                    <a:pt x="3742" y="1251"/>
                  </a:lnTo>
                  <a:lnTo>
                    <a:pt x="3744" y="1260"/>
                  </a:lnTo>
                  <a:lnTo>
                    <a:pt x="3747" y="1278"/>
                  </a:lnTo>
                  <a:lnTo>
                    <a:pt x="3751" y="1295"/>
                  </a:lnTo>
                  <a:lnTo>
                    <a:pt x="3756" y="1311"/>
                  </a:lnTo>
                  <a:lnTo>
                    <a:pt x="3762" y="1326"/>
                  </a:lnTo>
                  <a:lnTo>
                    <a:pt x="3768" y="1341"/>
                  </a:lnTo>
                  <a:lnTo>
                    <a:pt x="3775" y="1355"/>
                  </a:lnTo>
                  <a:lnTo>
                    <a:pt x="3782" y="1369"/>
                  </a:lnTo>
                  <a:lnTo>
                    <a:pt x="3790" y="1381"/>
                  </a:lnTo>
                  <a:lnTo>
                    <a:pt x="3799" y="1393"/>
                  </a:lnTo>
                  <a:lnTo>
                    <a:pt x="3804" y="1399"/>
                  </a:lnTo>
                  <a:lnTo>
                    <a:pt x="3809" y="1405"/>
                  </a:lnTo>
                  <a:lnTo>
                    <a:pt x="3814" y="1410"/>
                  </a:lnTo>
                  <a:lnTo>
                    <a:pt x="3819" y="1415"/>
                  </a:lnTo>
                  <a:lnTo>
                    <a:pt x="3830" y="1425"/>
                  </a:lnTo>
                  <a:lnTo>
                    <a:pt x="3842" y="1434"/>
                  </a:lnTo>
                  <a:lnTo>
                    <a:pt x="3854" y="1443"/>
                  </a:lnTo>
                  <a:lnTo>
                    <a:pt x="3867" y="1451"/>
                  </a:lnTo>
                  <a:lnTo>
                    <a:pt x="3881" y="1458"/>
                  </a:lnTo>
                  <a:lnTo>
                    <a:pt x="3896" y="1465"/>
                  </a:lnTo>
                  <a:lnTo>
                    <a:pt x="3911" y="1470"/>
                  </a:lnTo>
                  <a:lnTo>
                    <a:pt x="3919" y="1473"/>
                  </a:lnTo>
                  <a:lnTo>
                    <a:pt x="3927" y="1476"/>
                  </a:lnTo>
                  <a:lnTo>
                    <a:pt x="3944" y="1480"/>
                  </a:lnTo>
                  <a:lnTo>
                    <a:pt x="3961" y="1484"/>
                  </a:lnTo>
                  <a:lnTo>
                    <a:pt x="3979" y="1488"/>
                  </a:lnTo>
                  <a:lnTo>
                    <a:pt x="3998" y="1491"/>
                  </a:lnTo>
                  <a:lnTo>
                    <a:pt x="4018" y="1493"/>
                  </a:lnTo>
                  <a:lnTo>
                    <a:pt x="4038" y="1494"/>
                  </a:lnTo>
                  <a:lnTo>
                    <a:pt x="4060" y="1495"/>
                  </a:lnTo>
                  <a:lnTo>
                    <a:pt x="4082" y="1495"/>
                  </a:lnTo>
                  <a:lnTo>
                    <a:pt x="4104" y="1495"/>
                  </a:lnTo>
                  <a:lnTo>
                    <a:pt x="4125" y="1495"/>
                  </a:lnTo>
                  <a:lnTo>
                    <a:pt x="4146" y="1493"/>
                  </a:lnTo>
                  <a:lnTo>
                    <a:pt x="4167" y="1492"/>
                  </a:lnTo>
                  <a:lnTo>
                    <a:pt x="4187" y="1490"/>
                  </a:lnTo>
                  <a:lnTo>
                    <a:pt x="4208" y="1487"/>
                  </a:lnTo>
                  <a:lnTo>
                    <a:pt x="4230" y="1483"/>
                  </a:lnTo>
                  <a:lnTo>
                    <a:pt x="4253" y="1478"/>
                  </a:lnTo>
                  <a:close/>
                  <a:moveTo>
                    <a:pt x="2979" y="1024"/>
                  </a:moveTo>
                  <a:lnTo>
                    <a:pt x="2978" y="1050"/>
                  </a:lnTo>
                  <a:lnTo>
                    <a:pt x="2976" y="1075"/>
                  </a:lnTo>
                  <a:lnTo>
                    <a:pt x="2974" y="1100"/>
                  </a:lnTo>
                  <a:lnTo>
                    <a:pt x="2970" y="1125"/>
                  </a:lnTo>
                  <a:lnTo>
                    <a:pt x="2966" y="1149"/>
                  </a:lnTo>
                  <a:lnTo>
                    <a:pt x="2960" y="1172"/>
                  </a:lnTo>
                  <a:lnTo>
                    <a:pt x="2954" y="1195"/>
                  </a:lnTo>
                  <a:lnTo>
                    <a:pt x="2950" y="1206"/>
                  </a:lnTo>
                  <a:lnTo>
                    <a:pt x="2946" y="1217"/>
                  </a:lnTo>
                  <a:lnTo>
                    <a:pt x="2938" y="1238"/>
                  </a:lnTo>
                  <a:lnTo>
                    <a:pt x="2928" y="1259"/>
                  </a:lnTo>
                  <a:lnTo>
                    <a:pt x="2918" y="1279"/>
                  </a:lnTo>
                  <a:lnTo>
                    <a:pt x="2907" y="1299"/>
                  </a:lnTo>
                  <a:lnTo>
                    <a:pt x="2896" y="1317"/>
                  </a:lnTo>
                  <a:lnTo>
                    <a:pt x="2883" y="1335"/>
                  </a:lnTo>
                  <a:lnTo>
                    <a:pt x="2876" y="1344"/>
                  </a:lnTo>
                  <a:lnTo>
                    <a:pt x="2870" y="1352"/>
                  </a:lnTo>
                  <a:lnTo>
                    <a:pt x="2863" y="1360"/>
                  </a:lnTo>
                  <a:lnTo>
                    <a:pt x="2855" y="1368"/>
                  </a:lnTo>
                  <a:lnTo>
                    <a:pt x="2848" y="1376"/>
                  </a:lnTo>
                  <a:lnTo>
                    <a:pt x="2840" y="1384"/>
                  </a:lnTo>
                  <a:lnTo>
                    <a:pt x="2833" y="1391"/>
                  </a:lnTo>
                  <a:lnTo>
                    <a:pt x="2825" y="1399"/>
                  </a:lnTo>
                  <a:lnTo>
                    <a:pt x="2817" y="1406"/>
                  </a:lnTo>
                  <a:lnTo>
                    <a:pt x="2808" y="1412"/>
                  </a:lnTo>
                  <a:lnTo>
                    <a:pt x="2791" y="1425"/>
                  </a:lnTo>
                  <a:lnTo>
                    <a:pt x="2783" y="1431"/>
                  </a:lnTo>
                  <a:lnTo>
                    <a:pt x="2774" y="1437"/>
                  </a:lnTo>
                  <a:lnTo>
                    <a:pt x="2755" y="1448"/>
                  </a:lnTo>
                  <a:lnTo>
                    <a:pt x="2746" y="1453"/>
                  </a:lnTo>
                  <a:lnTo>
                    <a:pt x="2736" y="1458"/>
                  </a:lnTo>
                  <a:lnTo>
                    <a:pt x="2716" y="1467"/>
                  </a:lnTo>
                  <a:lnTo>
                    <a:pt x="2696" y="1476"/>
                  </a:lnTo>
                  <a:lnTo>
                    <a:pt x="2686" y="1479"/>
                  </a:lnTo>
                  <a:lnTo>
                    <a:pt x="2675" y="1483"/>
                  </a:lnTo>
                  <a:lnTo>
                    <a:pt x="2665" y="1486"/>
                  </a:lnTo>
                  <a:lnTo>
                    <a:pt x="2654" y="1489"/>
                  </a:lnTo>
                  <a:lnTo>
                    <a:pt x="2632" y="1494"/>
                  </a:lnTo>
                  <a:lnTo>
                    <a:pt x="2609" y="1498"/>
                  </a:lnTo>
                  <a:lnTo>
                    <a:pt x="2598" y="1499"/>
                  </a:lnTo>
                  <a:lnTo>
                    <a:pt x="2586" y="1501"/>
                  </a:lnTo>
                  <a:lnTo>
                    <a:pt x="2563" y="1502"/>
                  </a:lnTo>
                  <a:lnTo>
                    <a:pt x="2551" y="1503"/>
                  </a:lnTo>
                  <a:lnTo>
                    <a:pt x="2539" y="1503"/>
                  </a:lnTo>
                  <a:lnTo>
                    <a:pt x="2513" y="1502"/>
                  </a:lnTo>
                  <a:lnTo>
                    <a:pt x="2501" y="1502"/>
                  </a:lnTo>
                  <a:lnTo>
                    <a:pt x="2488" y="1501"/>
                  </a:lnTo>
                  <a:lnTo>
                    <a:pt x="2475" y="1500"/>
                  </a:lnTo>
                  <a:lnTo>
                    <a:pt x="2462" y="1498"/>
                  </a:lnTo>
                  <a:lnTo>
                    <a:pt x="2439" y="1494"/>
                  </a:lnTo>
                  <a:lnTo>
                    <a:pt x="2415" y="1489"/>
                  </a:lnTo>
                  <a:lnTo>
                    <a:pt x="2393" y="1484"/>
                  </a:lnTo>
                  <a:lnTo>
                    <a:pt x="2382" y="1480"/>
                  </a:lnTo>
                  <a:lnTo>
                    <a:pt x="2371" y="1477"/>
                  </a:lnTo>
                  <a:lnTo>
                    <a:pt x="2350" y="1469"/>
                  </a:lnTo>
                  <a:lnTo>
                    <a:pt x="2329" y="1460"/>
                  </a:lnTo>
                  <a:lnTo>
                    <a:pt x="2319" y="1455"/>
                  </a:lnTo>
                  <a:lnTo>
                    <a:pt x="2309" y="1450"/>
                  </a:lnTo>
                  <a:lnTo>
                    <a:pt x="2290" y="1440"/>
                  </a:lnTo>
                  <a:lnTo>
                    <a:pt x="2272" y="1428"/>
                  </a:lnTo>
                  <a:lnTo>
                    <a:pt x="2254" y="1415"/>
                  </a:lnTo>
                  <a:lnTo>
                    <a:pt x="2246" y="1409"/>
                  </a:lnTo>
                  <a:lnTo>
                    <a:pt x="2237" y="1402"/>
                  </a:lnTo>
                  <a:lnTo>
                    <a:pt x="2221" y="1388"/>
                  </a:lnTo>
                  <a:lnTo>
                    <a:pt x="2206" y="1372"/>
                  </a:lnTo>
                  <a:lnTo>
                    <a:pt x="2199" y="1364"/>
                  </a:lnTo>
                  <a:lnTo>
                    <a:pt x="2192" y="1356"/>
                  </a:lnTo>
                  <a:lnTo>
                    <a:pt x="2185" y="1348"/>
                  </a:lnTo>
                  <a:lnTo>
                    <a:pt x="2178" y="1339"/>
                  </a:lnTo>
                  <a:lnTo>
                    <a:pt x="2172" y="1330"/>
                  </a:lnTo>
                  <a:lnTo>
                    <a:pt x="2166" y="1321"/>
                  </a:lnTo>
                  <a:lnTo>
                    <a:pt x="2154" y="1303"/>
                  </a:lnTo>
                  <a:lnTo>
                    <a:pt x="2143" y="1283"/>
                  </a:lnTo>
                  <a:lnTo>
                    <a:pt x="2138" y="1273"/>
                  </a:lnTo>
                  <a:lnTo>
                    <a:pt x="2133" y="1263"/>
                  </a:lnTo>
                  <a:lnTo>
                    <a:pt x="2124" y="1242"/>
                  </a:lnTo>
                  <a:lnTo>
                    <a:pt x="2115" y="1220"/>
                  </a:lnTo>
                  <a:lnTo>
                    <a:pt x="2108" y="1197"/>
                  </a:lnTo>
                  <a:lnTo>
                    <a:pt x="2101" y="1174"/>
                  </a:lnTo>
                  <a:lnTo>
                    <a:pt x="2096" y="1150"/>
                  </a:lnTo>
                  <a:lnTo>
                    <a:pt x="2094" y="1138"/>
                  </a:lnTo>
                  <a:lnTo>
                    <a:pt x="2092" y="1125"/>
                  </a:lnTo>
                  <a:lnTo>
                    <a:pt x="2088" y="1100"/>
                  </a:lnTo>
                  <a:lnTo>
                    <a:pt x="2085" y="1074"/>
                  </a:lnTo>
                  <a:lnTo>
                    <a:pt x="2085" y="1061"/>
                  </a:lnTo>
                  <a:lnTo>
                    <a:pt x="2084" y="1047"/>
                  </a:lnTo>
                  <a:lnTo>
                    <a:pt x="2083" y="1020"/>
                  </a:lnTo>
                  <a:lnTo>
                    <a:pt x="2084" y="995"/>
                  </a:lnTo>
                  <a:lnTo>
                    <a:pt x="2085" y="983"/>
                  </a:lnTo>
                  <a:lnTo>
                    <a:pt x="2085" y="970"/>
                  </a:lnTo>
                  <a:lnTo>
                    <a:pt x="2088" y="946"/>
                  </a:lnTo>
                  <a:lnTo>
                    <a:pt x="2092" y="922"/>
                  </a:lnTo>
                  <a:lnTo>
                    <a:pt x="2096" y="899"/>
                  </a:lnTo>
                  <a:lnTo>
                    <a:pt x="2102" y="876"/>
                  </a:lnTo>
                  <a:lnTo>
                    <a:pt x="2108" y="854"/>
                  </a:lnTo>
                  <a:lnTo>
                    <a:pt x="2116" y="832"/>
                  </a:lnTo>
                  <a:lnTo>
                    <a:pt x="2124" y="811"/>
                  </a:lnTo>
                  <a:lnTo>
                    <a:pt x="2133" y="791"/>
                  </a:lnTo>
                  <a:lnTo>
                    <a:pt x="2138" y="781"/>
                  </a:lnTo>
                  <a:lnTo>
                    <a:pt x="2144" y="770"/>
                  </a:lnTo>
                  <a:lnTo>
                    <a:pt x="2155" y="751"/>
                  </a:lnTo>
                  <a:lnTo>
                    <a:pt x="2160" y="742"/>
                  </a:lnTo>
                  <a:lnTo>
                    <a:pt x="2166" y="732"/>
                  </a:lnTo>
                  <a:lnTo>
                    <a:pt x="2173" y="723"/>
                  </a:lnTo>
                  <a:lnTo>
                    <a:pt x="2179" y="715"/>
                  </a:lnTo>
                  <a:lnTo>
                    <a:pt x="2193" y="698"/>
                  </a:lnTo>
                  <a:lnTo>
                    <a:pt x="2207" y="681"/>
                  </a:lnTo>
                  <a:lnTo>
                    <a:pt x="2222" y="666"/>
                  </a:lnTo>
                  <a:lnTo>
                    <a:pt x="2238" y="651"/>
                  </a:lnTo>
                  <a:lnTo>
                    <a:pt x="2255" y="637"/>
                  </a:lnTo>
                  <a:lnTo>
                    <a:pt x="2272" y="624"/>
                  </a:lnTo>
                  <a:lnTo>
                    <a:pt x="2290" y="612"/>
                  </a:lnTo>
                  <a:lnTo>
                    <a:pt x="2309" y="601"/>
                  </a:lnTo>
                  <a:lnTo>
                    <a:pt x="2329" y="591"/>
                  </a:lnTo>
                  <a:lnTo>
                    <a:pt x="2349" y="582"/>
                  </a:lnTo>
                  <a:lnTo>
                    <a:pt x="2359" y="577"/>
                  </a:lnTo>
                  <a:lnTo>
                    <a:pt x="2370" y="573"/>
                  </a:lnTo>
                  <a:lnTo>
                    <a:pt x="2391" y="566"/>
                  </a:lnTo>
                  <a:lnTo>
                    <a:pt x="2413" y="560"/>
                  </a:lnTo>
                  <a:lnTo>
                    <a:pt x="2436" y="555"/>
                  </a:lnTo>
                  <a:lnTo>
                    <a:pt x="2447" y="553"/>
                  </a:lnTo>
                  <a:lnTo>
                    <a:pt x="2459" y="551"/>
                  </a:lnTo>
                  <a:lnTo>
                    <a:pt x="2471" y="549"/>
                  </a:lnTo>
                  <a:lnTo>
                    <a:pt x="2483" y="548"/>
                  </a:lnTo>
                  <a:lnTo>
                    <a:pt x="2508" y="546"/>
                  </a:lnTo>
                  <a:lnTo>
                    <a:pt x="2521" y="546"/>
                  </a:lnTo>
                  <a:lnTo>
                    <a:pt x="2533" y="545"/>
                  </a:lnTo>
                  <a:lnTo>
                    <a:pt x="2559" y="546"/>
                  </a:lnTo>
                  <a:lnTo>
                    <a:pt x="2585" y="548"/>
                  </a:lnTo>
                  <a:lnTo>
                    <a:pt x="2610" y="551"/>
                  </a:lnTo>
                  <a:lnTo>
                    <a:pt x="2634" y="554"/>
                  </a:lnTo>
                  <a:lnTo>
                    <a:pt x="2657" y="559"/>
                  </a:lnTo>
                  <a:lnTo>
                    <a:pt x="2679" y="566"/>
                  </a:lnTo>
                  <a:lnTo>
                    <a:pt x="2701" y="573"/>
                  </a:lnTo>
                  <a:lnTo>
                    <a:pt x="2722" y="581"/>
                  </a:lnTo>
                  <a:lnTo>
                    <a:pt x="2742" y="590"/>
                  </a:lnTo>
                  <a:lnTo>
                    <a:pt x="2762" y="600"/>
                  </a:lnTo>
                  <a:lnTo>
                    <a:pt x="2780" y="611"/>
                  </a:lnTo>
                  <a:lnTo>
                    <a:pt x="2798" y="623"/>
                  </a:lnTo>
                  <a:lnTo>
                    <a:pt x="2815" y="636"/>
                  </a:lnTo>
                  <a:lnTo>
                    <a:pt x="2832" y="650"/>
                  </a:lnTo>
                  <a:lnTo>
                    <a:pt x="2847" y="664"/>
                  </a:lnTo>
                  <a:lnTo>
                    <a:pt x="2862" y="680"/>
                  </a:lnTo>
                  <a:lnTo>
                    <a:pt x="2876" y="696"/>
                  </a:lnTo>
                  <a:lnTo>
                    <a:pt x="2889" y="713"/>
                  </a:lnTo>
                  <a:lnTo>
                    <a:pt x="2901" y="731"/>
                  </a:lnTo>
                  <a:lnTo>
                    <a:pt x="2907" y="740"/>
                  </a:lnTo>
                  <a:lnTo>
                    <a:pt x="2912" y="749"/>
                  </a:lnTo>
                  <a:lnTo>
                    <a:pt x="2917" y="759"/>
                  </a:lnTo>
                  <a:lnTo>
                    <a:pt x="2923" y="769"/>
                  </a:lnTo>
                  <a:lnTo>
                    <a:pt x="2932" y="790"/>
                  </a:lnTo>
                  <a:lnTo>
                    <a:pt x="2941" y="810"/>
                  </a:lnTo>
                  <a:lnTo>
                    <a:pt x="2949" y="832"/>
                  </a:lnTo>
                  <a:lnTo>
                    <a:pt x="2956" y="854"/>
                  </a:lnTo>
                  <a:lnTo>
                    <a:pt x="2962" y="876"/>
                  </a:lnTo>
                  <a:lnTo>
                    <a:pt x="2967" y="899"/>
                  </a:lnTo>
                  <a:lnTo>
                    <a:pt x="2971" y="923"/>
                  </a:lnTo>
                  <a:lnTo>
                    <a:pt x="2974" y="948"/>
                  </a:lnTo>
                  <a:lnTo>
                    <a:pt x="2977" y="972"/>
                  </a:lnTo>
                  <a:lnTo>
                    <a:pt x="2978" y="998"/>
                  </a:lnTo>
                  <a:lnTo>
                    <a:pt x="2979" y="1024"/>
                  </a:lnTo>
                  <a:close/>
                  <a:moveTo>
                    <a:pt x="2718" y="1022"/>
                  </a:moveTo>
                  <a:lnTo>
                    <a:pt x="2718" y="1007"/>
                  </a:lnTo>
                  <a:lnTo>
                    <a:pt x="2717" y="992"/>
                  </a:lnTo>
                  <a:lnTo>
                    <a:pt x="2716" y="978"/>
                  </a:lnTo>
                  <a:lnTo>
                    <a:pt x="2715" y="964"/>
                  </a:lnTo>
                  <a:lnTo>
                    <a:pt x="2713" y="951"/>
                  </a:lnTo>
                  <a:lnTo>
                    <a:pt x="2711" y="938"/>
                  </a:lnTo>
                  <a:lnTo>
                    <a:pt x="2709" y="926"/>
                  </a:lnTo>
                  <a:lnTo>
                    <a:pt x="2706" y="913"/>
                  </a:lnTo>
                  <a:lnTo>
                    <a:pt x="2702" y="902"/>
                  </a:lnTo>
                  <a:lnTo>
                    <a:pt x="2699" y="890"/>
                  </a:lnTo>
                  <a:lnTo>
                    <a:pt x="2695" y="880"/>
                  </a:lnTo>
                  <a:lnTo>
                    <a:pt x="2690" y="869"/>
                  </a:lnTo>
                  <a:lnTo>
                    <a:pt x="2685" y="859"/>
                  </a:lnTo>
                  <a:lnTo>
                    <a:pt x="2680" y="850"/>
                  </a:lnTo>
                  <a:lnTo>
                    <a:pt x="2675" y="841"/>
                  </a:lnTo>
                  <a:lnTo>
                    <a:pt x="2669" y="832"/>
                  </a:lnTo>
                  <a:lnTo>
                    <a:pt x="2663" y="824"/>
                  </a:lnTo>
                  <a:lnTo>
                    <a:pt x="2657" y="816"/>
                  </a:lnTo>
                  <a:lnTo>
                    <a:pt x="2650" y="809"/>
                  </a:lnTo>
                  <a:lnTo>
                    <a:pt x="2643" y="802"/>
                  </a:lnTo>
                  <a:lnTo>
                    <a:pt x="2635" y="796"/>
                  </a:lnTo>
                  <a:lnTo>
                    <a:pt x="2627" y="791"/>
                  </a:lnTo>
                  <a:lnTo>
                    <a:pt x="2619" y="785"/>
                  </a:lnTo>
                  <a:lnTo>
                    <a:pt x="2611" y="781"/>
                  </a:lnTo>
                  <a:lnTo>
                    <a:pt x="2602" y="776"/>
                  </a:lnTo>
                  <a:lnTo>
                    <a:pt x="2593" y="772"/>
                  </a:lnTo>
                  <a:lnTo>
                    <a:pt x="2584" y="769"/>
                  </a:lnTo>
                  <a:lnTo>
                    <a:pt x="2574" y="767"/>
                  </a:lnTo>
                  <a:lnTo>
                    <a:pt x="2565" y="765"/>
                  </a:lnTo>
                  <a:lnTo>
                    <a:pt x="2554" y="763"/>
                  </a:lnTo>
                  <a:lnTo>
                    <a:pt x="2544" y="762"/>
                  </a:lnTo>
                  <a:lnTo>
                    <a:pt x="2533" y="762"/>
                  </a:lnTo>
                  <a:lnTo>
                    <a:pt x="2523" y="762"/>
                  </a:lnTo>
                  <a:lnTo>
                    <a:pt x="2512" y="763"/>
                  </a:lnTo>
                  <a:lnTo>
                    <a:pt x="2502" y="765"/>
                  </a:lnTo>
                  <a:lnTo>
                    <a:pt x="2492" y="767"/>
                  </a:lnTo>
                  <a:lnTo>
                    <a:pt x="2481" y="769"/>
                  </a:lnTo>
                  <a:lnTo>
                    <a:pt x="2472" y="772"/>
                  </a:lnTo>
                  <a:lnTo>
                    <a:pt x="2463" y="776"/>
                  </a:lnTo>
                  <a:lnTo>
                    <a:pt x="2454" y="781"/>
                  </a:lnTo>
                  <a:lnTo>
                    <a:pt x="2446" y="786"/>
                  </a:lnTo>
                  <a:lnTo>
                    <a:pt x="2437" y="791"/>
                  </a:lnTo>
                  <a:lnTo>
                    <a:pt x="2429" y="797"/>
                  </a:lnTo>
                  <a:lnTo>
                    <a:pt x="2422" y="803"/>
                  </a:lnTo>
                  <a:lnTo>
                    <a:pt x="2415" y="810"/>
                  </a:lnTo>
                  <a:lnTo>
                    <a:pt x="2408" y="817"/>
                  </a:lnTo>
                  <a:lnTo>
                    <a:pt x="2401" y="825"/>
                  </a:lnTo>
                  <a:lnTo>
                    <a:pt x="2395" y="833"/>
                  </a:lnTo>
                  <a:lnTo>
                    <a:pt x="2389" y="842"/>
                  </a:lnTo>
                  <a:lnTo>
                    <a:pt x="2383" y="851"/>
                  </a:lnTo>
                  <a:lnTo>
                    <a:pt x="2378" y="860"/>
                  </a:lnTo>
                  <a:lnTo>
                    <a:pt x="2373" y="870"/>
                  </a:lnTo>
                  <a:lnTo>
                    <a:pt x="2368" y="881"/>
                  </a:lnTo>
                  <a:lnTo>
                    <a:pt x="2364" y="891"/>
                  </a:lnTo>
                  <a:lnTo>
                    <a:pt x="2360" y="903"/>
                  </a:lnTo>
                  <a:lnTo>
                    <a:pt x="2357" y="914"/>
                  </a:lnTo>
                  <a:lnTo>
                    <a:pt x="2354" y="926"/>
                  </a:lnTo>
                  <a:lnTo>
                    <a:pt x="2351" y="939"/>
                  </a:lnTo>
                  <a:lnTo>
                    <a:pt x="2349" y="951"/>
                  </a:lnTo>
                  <a:lnTo>
                    <a:pt x="2347" y="964"/>
                  </a:lnTo>
                  <a:lnTo>
                    <a:pt x="2346" y="978"/>
                  </a:lnTo>
                  <a:lnTo>
                    <a:pt x="2344" y="991"/>
                  </a:lnTo>
                  <a:lnTo>
                    <a:pt x="2344" y="1005"/>
                  </a:lnTo>
                  <a:lnTo>
                    <a:pt x="2344" y="1020"/>
                  </a:lnTo>
                  <a:lnTo>
                    <a:pt x="2344" y="1034"/>
                  </a:lnTo>
                  <a:lnTo>
                    <a:pt x="2344" y="1049"/>
                  </a:lnTo>
                  <a:lnTo>
                    <a:pt x="2346" y="1063"/>
                  </a:lnTo>
                  <a:lnTo>
                    <a:pt x="2347" y="1076"/>
                  </a:lnTo>
                  <a:lnTo>
                    <a:pt x="2349" y="1090"/>
                  </a:lnTo>
                  <a:lnTo>
                    <a:pt x="2351" y="1103"/>
                  </a:lnTo>
                  <a:lnTo>
                    <a:pt x="2357" y="1127"/>
                  </a:lnTo>
                  <a:lnTo>
                    <a:pt x="2361" y="1139"/>
                  </a:lnTo>
                  <a:lnTo>
                    <a:pt x="2365" y="1150"/>
                  </a:lnTo>
                  <a:lnTo>
                    <a:pt x="2369" y="1162"/>
                  </a:lnTo>
                  <a:lnTo>
                    <a:pt x="2374" y="1172"/>
                  </a:lnTo>
                  <a:lnTo>
                    <a:pt x="2379" y="1182"/>
                  </a:lnTo>
                  <a:lnTo>
                    <a:pt x="2384" y="1192"/>
                  </a:lnTo>
                  <a:lnTo>
                    <a:pt x="2396" y="1210"/>
                  </a:lnTo>
                  <a:lnTo>
                    <a:pt x="2402" y="1219"/>
                  </a:lnTo>
                  <a:lnTo>
                    <a:pt x="2409" y="1227"/>
                  </a:lnTo>
                  <a:lnTo>
                    <a:pt x="2416" y="1234"/>
                  </a:lnTo>
                  <a:lnTo>
                    <a:pt x="2424" y="1241"/>
                  </a:lnTo>
                  <a:lnTo>
                    <a:pt x="2431" y="1247"/>
                  </a:lnTo>
                  <a:lnTo>
                    <a:pt x="2439" y="1253"/>
                  </a:lnTo>
                  <a:lnTo>
                    <a:pt x="2448" y="1259"/>
                  </a:lnTo>
                  <a:lnTo>
                    <a:pt x="2457" y="1264"/>
                  </a:lnTo>
                  <a:lnTo>
                    <a:pt x="2465" y="1268"/>
                  </a:lnTo>
                  <a:lnTo>
                    <a:pt x="2475" y="1272"/>
                  </a:lnTo>
                  <a:lnTo>
                    <a:pt x="2484" y="1275"/>
                  </a:lnTo>
                  <a:lnTo>
                    <a:pt x="2495" y="1278"/>
                  </a:lnTo>
                  <a:lnTo>
                    <a:pt x="2505" y="1280"/>
                  </a:lnTo>
                  <a:lnTo>
                    <a:pt x="2516" y="1281"/>
                  </a:lnTo>
                  <a:lnTo>
                    <a:pt x="2526" y="1282"/>
                  </a:lnTo>
                  <a:lnTo>
                    <a:pt x="2537" y="1283"/>
                  </a:lnTo>
                  <a:lnTo>
                    <a:pt x="2548" y="1282"/>
                  </a:lnTo>
                  <a:lnTo>
                    <a:pt x="2558" y="1281"/>
                  </a:lnTo>
                  <a:lnTo>
                    <a:pt x="2568" y="1280"/>
                  </a:lnTo>
                  <a:lnTo>
                    <a:pt x="2578" y="1278"/>
                  </a:lnTo>
                  <a:lnTo>
                    <a:pt x="2587" y="1275"/>
                  </a:lnTo>
                  <a:lnTo>
                    <a:pt x="2596" y="1272"/>
                  </a:lnTo>
                  <a:lnTo>
                    <a:pt x="2600" y="1271"/>
                  </a:lnTo>
                  <a:lnTo>
                    <a:pt x="2605" y="1269"/>
                  </a:lnTo>
                  <a:lnTo>
                    <a:pt x="2613" y="1264"/>
                  </a:lnTo>
                  <a:lnTo>
                    <a:pt x="2622" y="1260"/>
                  </a:lnTo>
                  <a:lnTo>
                    <a:pt x="2630" y="1255"/>
                  </a:lnTo>
                  <a:lnTo>
                    <a:pt x="2637" y="1249"/>
                  </a:lnTo>
                  <a:lnTo>
                    <a:pt x="2644" y="1243"/>
                  </a:lnTo>
                  <a:lnTo>
                    <a:pt x="2651" y="1236"/>
                  </a:lnTo>
                  <a:lnTo>
                    <a:pt x="2658" y="1229"/>
                  </a:lnTo>
                  <a:lnTo>
                    <a:pt x="2664" y="1221"/>
                  </a:lnTo>
                  <a:lnTo>
                    <a:pt x="2670" y="1213"/>
                  </a:lnTo>
                  <a:lnTo>
                    <a:pt x="2676" y="1204"/>
                  </a:lnTo>
                  <a:lnTo>
                    <a:pt x="2681" y="1195"/>
                  </a:lnTo>
                  <a:lnTo>
                    <a:pt x="2686" y="1185"/>
                  </a:lnTo>
                  <a:lnTo>
                    <a:pt x="2691" y="1175"/>
                  </a:lnTo>
                  <a:lnTo>
                    <a:pt x="2695" y="1165"/>
                  </a:lnTo>
                  <a:lnTo>
                    <a:pt x="2699" y="1154"/>
                  </a:lnTo>
                  <a:lnTo>
                    <a:pt x="2703" y="1142"/>
                  </a:lnTo>
                  <a:lnTo>
                    <a:pt x="2706" y="1131"/>
                  </a:lnTo>
                  <a:lnTo>
                    <a:pt x="2709" y="1118"/>
                  </a:lnTo>
                  <a:lnTo>
                    <a:pt x="2711" y="1106"/>
                  </a:lnTo>
                  <a:lnTo>
                    <a:pt x="2713" y="1093"/>
                  </a:lnTo>
                  <a:lnTo>
                    <a:pt x="2715" y="1079"/>
                  </a:lnTo>
                  <a:lnTo>
                    <a:pt x="2717" y="1065"/>
                  </a:lnTo>
                  <a:lnTo>
                    <a:pt x="2718" y="1051"/>
                  </a:lnTo>
                  <a:lnTo>
                    <a:pt x="2718" y="1037"/>
                  </a:lnTo>
                  <a:lnTo>
                    <a:pt x="2718" y="1022"/>
                  </a:lnTo>
                  <a:close/>
                  <a:moveTo>
                    <a:pt x="5165" y="1037"/>
                  </a:moveTo>
                  <a:lnTo>
                    <a:pt x="5165" y="570"/>
                  </a:lnTo>
                  <a:lnTo>
                    <a:pt x="4907" y="570"/>
                  </a:lnTo>
                  <a:lnTo>
                    <a:pt x="4907" y="1037"/>
                  </a:lnTo>
                  <a:lnTo>
                    <a:pt x="4906" y="1070"/>
                  </a:lnTo>
                  <a:lnTo>
                    <a:pt x="4905" y="1100"/>
                  </a:lnTo>
                  <a:lnTo>
                    <a:pt x="4904" y="1114"/>
                  </a:lnTo>
                  <a:lnTo>
                    <a:pt x="4903" y="1127"/>
                  </a:lnTo>
                  <a:lnTo>
                    <a:pt x="4900" y="1152"/>
                  </a:lnTo>
                  <a:lnTo>
                    <a:pt x="4895" y="1174"/>
                  </a:lnTo>
                  <a:lnTo>
                    <a:pt x="4890" y="1194"/>
                  </a:lnTo>
                  <a:lnTo>
                    <a:pt x="4887" y="1203"/>
                  </a:lnTo>
                  <a:lnTo>
                    <a:pt x="4883" y="1211"/>
                  </a:lnTo>
                  <a:lnTo>
                    <a:pt x="4879" y="1219"/>
                  </a:lnTo>
                  <a:lnTo>
                    <a:pt x="4875" y="1226"/>
                  </a:lnTo>
                  <a:lnTo>
                    <a:pt x="4866" y="1240"/>
                  </a:lnTo>
                  <a:lnTo>
                    <a:pt x="4860" y="1245"/>
                  </a:lnTo>
                  <a:lnTo>
                    <a:pt x="4855" y="1251"/>
                  </a:lnTo>
                  <a:lnTo>
                    <a:pt x="4849" y="1255"/>
                  </a:lnTo>
                  <a:lnTo>
                    <a:pt x="4843" y="1260"/>
                  </a:lnTo>
                  <a:lnTo>
                    <a:pt x="4836" y="1264"/>
                  </a:lnTo>
                  <a:lnTo>
                    <a:pt x="4829" y="1267"/>
                  </a:lnTo>
                  <a:lnTo>
                    <a:pt x="4821" y="1270"/>
                  </a:lnTo>
                  <a:lnTo>
                    <a:pt x="4813" y="1273"/>
                  </a:lnTo>
                  <a:lnTo>
                    <a:pt x="4805" y="1275"/>
                  </a:lnTo>
                  <a:lnTo>
                    <a:pt x="4796" y="1276"/>
                  </a:lnTo>
                  <a:lnTo>
                    <a:pt x="4787" y="1278"/>
                  </a:lnTo>
                  <a:lnTo>
                    <a:pt x="4777" y="1279"/>
                  </a:lnTo>
                  <a:lnTo>
                    <a:pt x="4767" y="1279"/>
                  </a:lnTo>
                  <a:lnTo>
                    <a:pt x="4757" y="1279"/>
                  </a:lnTo>
                  <a:lnTo>
                    <a:pt x="4746" y="1279"/>
                  </a:lnTo>
                  <a:lnTo>
                    <a:pt x="4735" y="1279"/>
                  </a:lnTo>
                  <a:lnTo>
                    <a:pt x="4725" y="1278"/>
                  </a:lnTo>
                  <a:lnTo>
                    <a:pt x="4715" y="1276"/>
                  </a:lnTo>
                  <a:lnTo>
                    <a:pt x="4706" y="1275"/>
                  </a:lnTo>
                  <a:lnTo>
                    <a:pt x="4697" y="1273"/>
                  </a:lnTo>
                  <a:lnTo>
                    <a:pt x="4689" y="1270"/>
                  </a:lnTo>
                  <a:lnTo>
                    <a:pt x="4681" y="1267"/>
                  </a:lnTo>
                  <a:lnTo>
                    <a:pt x="4674" y="1264"/>
                  </a:lnTo>
                  <a:lnTo>
                    <a:pt x="4667" y="1260"/>
                  </a:lnTo>
                  <a:lnTo>
                    <a:pt x="4660" y="1256"/>
                  </a:lnTo>
                  <a:lnTo>
                    <a:pt x="4654" y="1251"/>
                  </a:lnTo>
                  <a:lnTo>
                    <a:pt x="4648" y="1246"/>
                  </a:lnTo>
                  <a:lnTo>
                    <a:pt x="4642" y="1241"/>
                  </a:lnTo>
                  <a:lnTo>
                    <a:pt x="4637" y="1235"/>
                  </a:lnTo>
                  <a:lnTo>
                    <a:pt x="4632" y="1228"/>
                  </a:lnTo>
                  <a:lnTo>
                    <a:pt x="4627" y="1221"/>
                  </a:lnTo>
                  <a:lnTo>
                    <a:pt x="4623" y="1214"/>
                  </a:lnTo>
                  <a:lnTo>
                    <a:pt x="4619" y="1206"/>
                  </a:lnTo>
                  <a:lnTo>
                    <a:pt x="4616" y="1197"/>
                  </a:lnTo>
                  <a:lnTo>
                    <a:pt x="4613" y="1188"/>
                  </a:lnTo>
                  <a:lnTo>
                    <a:pt x="4610" y="1179"/>
                  </a:lnTo>
                  <a:lnTo>
                    <a:pt x="4607" y="1169"/>
                  </a:lnTo>
                  <a:lnTo>
                    <a:pt x="4605" y="1158"/>
                  </a:lnTo>
                  <a:lnTo>
                    <a:pt x="4603" y="1147"/>
                  </a:lnTo>
                  <a:lnTo>
                    <a:pt x="4601" y="1135"/>
                  </a:lnTo>
                  <a:lnTo>
                    <a:pt x="4600" y="1123"/>
                  </a:lnTo>
                  <a:lnTo>
                    <a:pt x="4599" y="1110"/>
                  </a:lnTo>
                  <a:lnTo>
                    <a:pt x="4598" y="1096"/>
                  </a:lnTo>
                  <a:lnTo>
                    <a:pt x="4597" y="1082"/>
                  </a:lnTo>
                  <a:lnTo>
                    <a:pt x="4597" y="1052"/>
                  </a:lnTo>
                  <a:lnTo>
                    <a:pt x="4597" y="570"/>
                  </a:lnTo>
                  <a:lnTo>
                    <a:pt x="4338" y="570"/>
                  </a:lnTo>
                  <a:lnTo>
                    <a:pt x="4338" y="1048"/>
                  </a:lnTo>
                  <a:lnTo>
                    <a:pt x="4339" y="1067"/>
                  </a:lnTo>
                  <a:lnTo>
                    <a:pt x="4339" y="1084"/>
                  </a:lnTo>
                  <a:lnTo>
                    <a:pt x="4340" y="1118"/>
                  </a:lnTo>
                  <a:lnTo>
                    <a:pt x="4342" y="1149"/>
                  </a:lnTo>
                  <a:lnTo>
                    <a:pt x="4345" y="1178"/>
                  </a:lnTo>
                  <a:lnTo>
                    <a:pt x="4347" y="1192"/>
                  </a:lnTo>
                  <a:lnTo>
                    <a:pt x="4349" y="1205"/>
                  </a:lnTo>
                  <a:lnTo>
                    <a:pt x="4353" y="1230"/>
                  </a:lnTo>
                  <a:lnTo>
                    <a:pt x="4356" y="1242"/>
                  </a:lnTo>
                  <a:lnTo>
                    <a:pt x="4359" y="1254"/>
                  </a:lnTo>
                  <a:lnTo>
                    <a:pt x="4362" y="1265"/>
                  </a:lnTo>
                  <a:lnTo>
                    <a:pt x="4366" y="1275"/>
                  </a:lnTo>
                  <a:lnTo>
                    <a:pt x="4373" y="1296"/>
                  </a:lnTo>
                  <a:lnTo>
                    <a:pt x="4382" y="1315"/>
                  </a:lnTo>
                  <a:lnTo>
                    <a:pt x="4392" y="1333"/>
                  </a:lnTo>
                  <a:lnTo>
                    <a:pt x="4398" y="1341"/>
                  </a:lnTo>
                  <a:lnTo>
                    <a:pt x="4404" y="1350"/>
                  </a:lnTo>
                  <a:lnTo>
                    <a:pt x="4410" y="1358"/>
                  </a:lnTo>
                  <a:lnTo>
                    <a:pt x="4416" y="1366"/>
                  </a:lnTo>
                  <a:lnTo>
                    <a:pt x="4423" y="1373"/>
                  </a:lnTo>
                  <a:lnTo>
                    <a:pt x="4430" y="1381"/>
                  </a:lnTo>
                  <a:lnTo>
                    <a:pt x="4437" y="1388"/>
                  </a:lnTo>
                  <a:lnTo>
                    <a:pt x="4445" y="1396"/>
                  </a:lnTo>
                  <a:lnTo>
                    <a:pt x="4461" y="1410"/>
                  </a:lnTo>
                  <a:lnTo>
                    <a:pt x="4475" y="1421"/>
                  </a:lnTo>
                  <a:lnTo>
                    <a:pt x="4489" y="1431"/>
                  </a:lnTo>
                  <a:lnTo>
                    <a:pt x="4505" y="1440"/>
                  </a:lnTo>
                  <a:lnTo>
                    <a:pt x="4520" y="1449"/>
                  </a:lnTo>
                  <a:lnTo>
                    <a:pt x="4537" y="1457"/>
                  </a:lnTo>
                  <a:lnTo>
                    <a:pt x="4554" y="1464"/>
                  </a:lnTo>
                  <a:lnTo>
                    <a:pt x="4572" y="1471"/>
                  </a:lnTo>
                  <a:lnTo>
                    <a:pt x="4590" y="1477"/>
                  </a:lnTo>
                  <a:lnTo>
                    <a:pt x="4609" y="1482"/>
                  </a:lnTo>
                  <a:lnTo>
                    <a:pt x="4619" y="1484"/>
                  </a:lnTo>
                  <a:lnTo>
                    <a:pt x="4628" y="1486"/>
                  </a:lnTo>
                  <a:lnTo>
                    <a:pt x="4638" y="1489"/>
                  </a:lnTo>
                  <a:lnTo>
                    <a:pt x="4648" y="1490"/>
                  </a:lnTo>
                  <a:lnTo>
                    <a:pt x="4669" y="1494"/>
                  </a:lnTo>
                  <a:lnTo>
                    <a:pt x="4689" y="1496"/>
                  </a:lnTo>
                  <a:lnTo>
                    <a:pt x="4711" y="1498"/>
                  </a:lnTo>
                  <a:lnTo>
                    <a:pt x="4732" y="1499"/>
                  </a:lnTo>
                  <a:lnTo>
                    <a:pt x="4755" y="1499"/>
                  </a:lnTo>
                  <a:lnTo>
                    <a:pt x="4781" y="1499"/>
                  </a:lnTo>
                  <a:lnTo>
                    <a:pt x="4806" y="1497"/>
                  </a:lnTo>
                  <a:lnTo>
                    <a:pt x="4818" y="1496"/>
                  </a:lnTo>
                  <a:lnTo>
                    <a:pt x="4831" y="1494"/>
                  </a:lnTo>
                  <a:lnTo>
                    <a:pt x="4855" y="1491"/>
                  </a:lnTo>
                  <a:lnTo>
                    <a:pt x="4878" y="1486"/>
                  </a:lnTo>
                  <a:lnTo>
                    <a:pt x="4900" y="1480"/>
                  </a:lnTo>
                  <a:lnTo>
                    <a:pt x="4911" y="1477"/>
                  </a:lnTo>
                  <a:lnTo>
                    <a:pt x="4922" y="1474"/>
                  </a:lnTo>
                  <a:lnTo>
                    <a:pt x="4943" y="1466"/>
                  </a:lnTo>
                  <a:lnTo>
                    <a:pt x="4953" y="1462"/>
                  </a:lnTo>
                  <a:lnTo>
                    <a:pt x="4963" y="1457"/>
                  </a:lnTo>
                  <a:lnTo>
                    <a:pt x="4983" y="1448"/>
                  </a:lnTo>
                  <a:lnTo>
                    <a:pt x="5001" y="1437"/>
                  </a:lnTo>
                  <a:lnTo>
                    <a:pt x="5019" y="1426"/>
                  </a:lnTo>
                  <a:lnTo>
                    <a:pt x="5036" y="1413"/>
                  </a:lnTo>
                  <a:lnTo>
                    <a:pt x="5044" y="1407"/>
                  </a:lnTo>
                  <a:lnTo>
                    <a:pt x="5052" y="1400"/>
                  </a:lnTo>
                  <a:lnTo>
                    <a:pt x="5059" y="1393"/>
                  </a:lnTo>
                  <a:lnTo>
                    <a:pt x="5066" y="1386"/>
                  </a:lnTo>
                  <a:lnTo>
                    <a:pt x="5080" y="1370"/>
                  </a:lnTo>
                  <a:lnTo>
                    <a:pt x="5091" y="1357"/>
                  </a:lnTo>
                  <a:lnTo>
                    <a:pt x="5096" y="1350"/>
                  </a:lnTo>
                  <a:lnTo>
                    <a:pt x="5101" y="1344"/>
                  </a:lnTo>
                  <a:lnTo>
                    <a:pt x="5106" y="1336"/>
                  </a:lnTo>
                  <a:lnTo>
                    <a:pt x="5110" y="1329"/>
                  </a:lnTo>
                  <a:lnTo>
                    <a:pt x="5118" y="1314"/>
                  </a:lnTo>
                  <a:lnTo>
                    <a:pt x="5126" y="1298"/>
                  </a:lnTo>
                  <a:lnTo>
                    <a:pt x="5133" y="1280"/>
                  </a:lnTo>
                  <a:lnTo>
                    <a:pt x="5139" y="1262"/>
                  </a:lnTo>
                  <a:lnTo>
                    <a:pt x="5145" y="1243"/>
                  </a:lnTo>
                  <a:lnTo>
                    <a:pt x="5150" y="1222"/>
                  </a:lnTo>
                  <a:lnTo>
                    <a:pt x="5154" y="1200"/>
                  </a:lnTo>
                  <a:lnTo>
                    <a:pt x="5157" y="1177"/>
                  </a:lnTo>
                  <a:lnTo>
                    <a:pt x="5160" y="1152"/>
                  </a:lnTo>
                  <a:lnTo>
                    <a:pt x="5162" y="1126"/>
                  </a:lnTo>
                  <a:lnTo>
                    <a:pt x="5163" y="1112"/>
                  </a:lnTo>
                  <a:lnTo>
                    <a:pt x="5164" y="1098"/>
                  </a:lnTo>
                  <a:lnTo>
                    <a:pt x="5165" y="1068"/>
                  </a:lnTo>
                  <a:lnTo>
                    <a:pt x="5165" y="1037"/>
                  </a:lnTo>
                  <a:close/>
                  <a:moveTo>
                    <a:pt x="6630" y="1478"/>
                  </a:moveTo>
                  <a:lnTo>
                    <a:pt x="6630" y="957"/>
                  </a:lnTo>
                  <a:lnTo>
                    <a:pt x="6629" y="905"/>
                  </a:lnTo>
                  <a:lnTo>
                    <a:pt x="6629" y="881"/>
                  </a:lnTo>
                  <a:lnTo>
                    <a:pt x="6628" y="859"/>
                  </a:lnTo>
                  <a:lnTo>
                    <a:pt x="6626" y="838"/>
                  </a:lnTo>
                  <a:lnTo>
                    <a:pt x="6625" y="819"/>
                  </a:lnTo>
                  <a:lnTo>
                    <a:pt x="6623" y="801"/>
                  </a:lnTo>
                  <a:lnTo>
                    <a:pt x="6620" y="784"/>
                  </a:lnTo>
                  <a:lnTo>
                    <a:pt x="6617" y="767"/>
                  </a:lnTo>
                  <a:lnTo>
                    <a:pt x="6614" y="752"/>
                  </a:lnTo>
                  <a:lnTo>
                    <a:pt x="6611" y="738"/>
                  </a:lnTo>
                  <a:lnTo>
                    <a:pt x="6607" y="725"/>
                  </a:lnTo>
                  <a:lnTo>
                    <a:pt x="6602" y="713"/>
                  </a:lnTo>
                  <a:lnTo>
                    <a:pt x="6597" y="701"/>
                  </a:lnTo>
                  <a:lnTo>
                    <a:pt x="6592" y="690"/>
                  </a:lnTo>
                  <a:lnTo>
                    <a:pt x="6586" y="680"/>
                  </a:lnTo>
                  <a:lnTo>
                    <a:pt x="6582" y="672"/>
                  </a:lnTo>
                  <a:lnTo>
                    <a:pt x="6577" y="665"/>
                  </a:lnTo>
                  <a:lnTo>
                    <a:pt x="6567" y="651"/>
                  </a:lnTo>
                  <a:lnTo>
                    <a:pt x="6561" y="645"/>
                  </a:lnTo>
                  <a:lnTo>
                    <a:pt x="6556" y="638"/>
                  </a:lnTo>
                  <a:lnTo>
                    <a:pt x="6543" y="626"/>
                  </a:lnTo>
                  <a:lnTo>
                    <a:pt x="6530" y="615"/>
                  </a:lnTo>
                  <a:lnTo>
                    <a:pt x="6523" y="609"/>
                  </a:lnTo>
                  <a:lnTo>
                    <a:pt x="6516" y="604"/>
                  </a:lnTo>
                  <a:lnTo>
                    <a:pt x="6501" y="594"/>
                  </a:lnTo>
                  <a:lnTo>
                    <a:pt x="6485" y="586"/>
                  </a:lnTo>
                  <a:lnTo>
                    <a:pt x="6477" y="582"/>
                  </a:lnTo>
                  <a:lnTo>
                    <a:pt x="6468" y="578"/>
                  </a:lnTo>
                  <a:lnTo>
                    <a:pt x="6451" y="571"/>
                  </a:lnTo>
                  <a:lnTo>
                    <a:pt x="6433" y="565"/>
                  </a:lnTo>
                  <a:lnTo>
                    <a:pt x="6414" y="560"/>
                  </a:lnTo>
                  <a:lnTo>
                    <a:pt x="6405" y="558"/>
                  </a:lnTo>
                  <a:lnTo>
                    <a:pt x="6395" y="556"/>
                  </a:lnTo>
                  <a:lnTo>
                    <a:pt x="6375" y="553"/>
                  </a:lnTo>
                  <a:lnTo>
                    <a:pt x="6355" y="552"/>
                  </a:lnTo>
                  <a:lnTo>
                    <a:pt x="6345" y="551"/>
                  </a:lnTo>
                  <a:lnTo>
                    <a:pt x="6335" y="551"/>
                  </a:lnTo>
                  <a:lnTo>
                    <a:pt x="6322" y="551"/>
                  </a:lnTo>
                  <a:lnTo>
                    <a:pt x="6310" y="552"/>
                  </a:lnTo>
                  <a:lnTo>
                    <a:pt x="6298" y="553"/>
                  </a:lnTo>
                  <a:lnTo>
                    <a:pt x="6286" y="554"/>
                  </a:lnTo>
                  <a:lnTo>
                    <a:pt x="6275" y="556"/>
                  </a:lnTo>
                  <a:lnTo>
                    <a:pt x="6264" y="558"/>
                  </a:lnTo>
                  <a:lnTo>
                    <a:pt x="6253" y="561"/>
                  </a:lnTo>
                  <a:lnTo>
                    <a:pt x="6242" y="564"/>
                  </a:lnTo>
                  <a:lnTo>
                    <a:pt x="6231" y="567"/>
                  </a:lnTo>
                  <a:lnTo>
                    <a:pt x="6221" y="571"/>
                  </a:lnTo>
                  <a:lnTo>
                    <a:pt x="6211" y="575"/>
                  </a:lnTo>
                  <a:lnTo>
                    <a:pt x="6201" y="580"/>
                  </a:lnTo>
                  <a:lnTo>
                    <a:pt x="6191" y="585"/>
                  </a:lnTo>
                  <a:lnTo>
                    <a:pt x="6181" y="590"/>
                  </a:lnTo>
                  <a:lnTo>
                    <a:pt x="6172" y="596"/>
                  </a:lnTo>
                  <a:lnTo>
                    <a:pt x="6163" y="602"/>
                  </a:lnTo>
                  <a:lnTo>
                    <a:pt x="6154" y="609"/>
                  </a:lnTo>
                  <a:lnTo>
                    <a:pt x="6146" y="616"/>
                  </a:lnTo>
                  <a:lnTo>
                    <a:pt x="6137" y="624"/>
                  </a:lnTo>
                  <a:lnTo>
                    <a:pt x="6129" y="632"/>
                  </a:lnTo>
                  <a:lnTo>
                    <a:pt x="6121" y="640"/>
                  </a:lnTo>
                  <a:lnTo>
                    <a:pt x="6113" y="649"/>
                  </a:lnTo>
                  <a:lnTo>
                    <a:pt x="6105" y="658"/>
                  </a:lnTo>
                  <a:lnTo>
                    <a:pt x="6098" y="668"/>
                  </a:lnTo>
                  <a:lnTo>
                    <a:pt x="6091" y="678"/>
                  </a:lnTo>
                  <a:lnTo>
                    <a:pt x="6084" y="688"/>
                  </a:lnTo>
                  <a:lnTo>
                    <a:pt x="6077" y="699"/>
                  </a:lnTo>
                  <a:lnTo>
                    <a:pt x="6070" y="711"/>
                  </a:lnTo>
                  <a:lnTo>
                    <a:pt x="6064" y="723"/>
                  </a:lnTo>
                  <a:lnTo>
                    <a:pt x="6057" y="735"/>
                  </a:lnTo>
                  <a:lnTo>
                    <a:pt x="6051" y="748"/>
                  </a:lnTo>
                  <a:lnTo>
                    <a:pt x="6045" y="761"/>
                  </a:lnTo>
                  <a:lnTo>
                    <a:pt x="6039" y="736"/>
                  </a:lnTo>
                  <a:lnTo>
                    <a:pt x="6035" y="724"/>
                  </a:lnTo>
                  <a:lnTo>
                    <a:pt x="6031" y="712"/>
                  </a:lnTo>
                  <a:lnTo>
                    <a:pt x="6022" y="690"/>
                  </a:lnTo>
                  <a:lnTo>
                    <a:pt x="6017" y="679"/>
                  </a:lnTo>
                  <a:lnTo>
                    <a:pt x="6012" y="669"/>
                  </a:lnTo>
                  <a:lnTo>
                    <a:pt x="6001" y="650"/>
                  </a:lnTo>
                  <a:lnTo>
                    <a:pt x="5995" y="642"/>
                  </a:lnTo>
                  <a:lnTo>
                    <a:pt x="5989" y="633"/>
                  </a:lnTo>
                  <a:lnTo>
                    <a:pt x="5982" y="625"/>
                  </a:lnTo>
                  <a:lnTo>
                    <a:pt x="5975" y="618"/>
                  </a:lnTo>
                  <a:lnTo>
                    <a:pt x="5968" y="610"/>
                  </a:lnTo>
                  <a:lnTo>
                    <a:pt x="5961" y="604"/>
                  </a:lnTo>
                  <a:lnTo>
                    <a:pt x="5953" y="597"/>
                  </a:lnTo>
                  <a:lnTo>
                    <a:pt x="5945" y="591"/>
                  </a:lnTo>
                  <a:lnTo>
                    <a:pt x="5937" y="586"/>
                  </a:lnTo>
                  <a:lnTo>
                    <a:pt x="5928" y="581"/>
                  </a:lnTo>
                  <a:lnTo>
                    <a:pt x="5919" y="576"/>
                  </a:lnTo>
                  <a:lnTo>
                    <a:pt x="5910" y="572"/>
                  </a:lnTo>
                  <a:lnTo>
                    <a:pt x="5900" y="568"/>
                  </a:lnTo>
                  <a:lnTo>
                    <a:pt x="5890" y="564"/>
                  </a:lnTo>
                  <a:lnTo>
                    <a:pt x="5880" y="561"/>
                  </a:lnTo>
                  <a:lnTo>
                    <a:pt x="5870" y="558"/>
                  </a:lnTo>
                  <a:lnTo>
                    <a:pt x="5859" y="556"/>
                  </a:lnTo>
                  <a:lnTo>
                    <a:pt x="5848" y="554"/>
                  </a:lnTo>
                  <a:lnTo>
                    <a:pt x="5837" y="553"/>
                  </a:lnTo>
                  <a:lnTo>
                    <a:pt x="5825" y="552"/>
                  </a:lnTo>
                  <a:lnTo>
                    <a:pt x="5813" y="551"/>
                  </a:lnTo>
                  <a:lnTo>
                    <a:pt x="5801" y="551"/>
                  </a:lnTo>
                  <a:lnTo>
                    <a:pt x="5775" y="552"/>
                  </a:lnTo>
                  <a:lnTo>
                    <a:pt x="5763" y="553"/>
                  </a:lnTo>
                  <a:lnTo>
                    <a:pt x="5751" y="554"/>
                  </a:lnTo>
                  <a:lnTo>
                    <a:pt x="5740" y="556"/>
                  </a:lnTo>
                  <a:lnTo>
                    <a:pt x="5729" y="558"/>
                  </a:lnTo>
                  <a:lnTo>
                    <a:pt x="5718" y="560"/>
                  </a:lnTo>
                  <a:lnTo>
                    <a:pt x="5707" y="563"/>
                  </a:lnTo>
                  <a:lnTo>
                    <a:pt x="5697" y="567"/>
                  </a:lnTo>
                  <a:lnTo>
                    <a:pt x="5687" y="570"/>
                  </a:lnTo>
                  <a:lnTo>
                    <a:pt x="5677" y="574"/>
                  </a:lnTo>
                  <a:lnTo>
                    <a:pt x="5667" y="579"/>
                  </a:lnTo>
                  <a:lnTo>
                    <a:pt x="5658" y="584"/>
                  </a:lnTo>
                  <a:lnTo>
                    <a:pt x="5649" y="589"/>
                  </a:lnTo>
                  <a:lnTo>
                    <a:pt x="5640" y="595"/>
                  </a:lnTo>
                  <a:lnTo>
                    <a:pt x="5631" y="601"/>
                  </a:lnTo>
                  <a:lnTo>
                    <a:pt x="5622" y="607"/>
                  </a:lnTo>
                  <a:lnTo>
                    <a:pt x="5614" y="614"/>
                  </a:lnTo>
                  <a:lnTo>
                    <a:pt x="5606" y="622"/>
                  </a:lnTo>
                  <a:lnTo>
                    <a:pt x="5598" y="629"/>
                  </a:lnTo>
                  <a:lnTo>
                    <a:pt x="5590" y="637"/>
                  </a:lnTo>
                  <a:lnTo>
                    <a:pt x="5582" y="646"/>
                  </a:lnTo>
                  <a:lnTo>
                    <a:pt x="5575" y="655"/>
                  </a:lnTo>
                  <a:lnTo>
                    <a:pt x="5568" y="665"/>
                  </a:lnTo>
                  <a:lnTo>
                    <a:pt x="5553" y="685"/>
                  </a:lnTo>
                  <a:lnTo>
                    <a:pt x="5546" y="695"/>
                  </a:lnTo>
                  <a:lnTo>
                    <a:pt x="5540" y="707"/>
                  </a:lnTo>
                  <a:lnTo>
                    <a:pt x="5533" y="718"/>
                  </a:lnTo>
                  <a:lnTo>
                    <a:pt x="5526" y="730"/>
                  </a:lnTo>
                  <a:lnTo>
                    <a:pt x="5513" y="756"/>
                  </a:lnTo>
                  <a:lnTo>
                    <a:pt x="5513" y="570"/>
                  </a:lnTo>
                  <a:lnTo>
                    <a:pt x="5264" y="570"/>
                  </a:lnTo>
                  <a:lnTo>
                    <a:pt x="5264" y="1024"/>
                  </a:lnTo>
                  <a:lnTo>
                    <a:pt x="5264" y="1478"/>
                  </a:lnTo>
                  <a:lnTo>
                    <a:pt x="5523" y="1478"/>
                  </a:lnTo>
                  <a:lnTo>
                    <a:pt x="5523" y="1057"/>
                  </a:lnTo>
                  <a:lnTo>
                    <a:pt x="5523" y="1035"/>
                  </a:lnTo>
                  <a:lnTo>
                    <a:pt x="5523" y="1015"/>
                  </a:lnTo>
                  <a:lnTo>
                    <a:pt x="5524" y="997"/>
                  </a:lnTo>
                  <a:lnTo>
                    <a:pt x="5525" y="988"/>
                  </a:lnTo>
                  <a:lnTo>
                    <a:pt x="5526" y="979"/>
                  </a:lnTo>
                  <a:lnTo>
                    <a:pt x="5528" y="963"/>
                  </a:lnTo>
                  <a:lnTo>
                    <a:pt x="5530" y="948"/>
                  </a:lnTo>
                  <a:lnTo>
                    <a:pt x="5533" y="935"/>
                  </a:lnTo>
                  <a:lnTo>
                    <a:pt x="5536" y="922"/>
                  </a:lnTo>
                  <a:lnTo>
                    <a:pt x="5541" y="907"/>
                  </a:lnTo>
                  <a:lnTo>
                    <a:pt x="5546" y="893"/>
                  </a:lnTo>
                  <a:lnTo>
                    <a:pt x="5552" y="879"/>
                  </a:lnTo>
                  <a:lnTo>
                    <a:pt x="5559" y="867"/>
                  </a:lnTo>
                  <a:lnTo>
                    <a:pt x="5567" y="855"/>
                  </a:lnTo>
                  <a:lnTo>
                    <a:pt x="5575" y="844"/>
                  </a:lnTo>
                  <a:lnTo>
                    <a:pt x="5584" y="834"/>
                  </a:lnTo>
                  <a:lnTo>
                    <a:pt x="5593" y="824"/>
                  </a:lnTo>
                  <a:lnTo>
                    <a:pt x="5598" y="820"/>
                  </a:lnTo>
                  <a:lnTo>
                    <a:pt x="5603" y="816"/>
                  </a:lnTo>
                  <a:lnTo>
                    <a:pt x="5614" y="809"/>
                  </a:lnTo>
                  <a:lnTo>
                    <a:pt x="5625" y="802"/>
                  </a:lnTo>
                  <a:lnTo>
                    <a:pt x="5631" y="800"/>
                  </a:lnTo>
                  <a:lnTo>
                    <a:pt x="5636" y="797"/>
                  </a:lnTo>
                  <a:lnTo>
                    <a:pt x="5648" y="793"/>
                  </a:lnTo>
                  <a:lnTo>
                    <a:pt x="5661" y="790"/>
                  </a:lnTo>
                  <a:lnTo>
                    <a:pt x="5667" y="789"/>
                  </a:lnTo>
                  <a:lnTo>
                    <a:pt x="5673" y="788"/>
                  </a:lnTo>
                  <a:lnTo>
                    <a:pt x="5680" y="788"/>
                  </a:lnTo>
                  <a:lnTo>
                    <a:pt x="5686" y="788"/>
                  </a:lnTo>
                  <a:lnTo>
                    <a:pt x="5696" y="788"/>
                  </a:lnTo>
                  <a:lnTo>
                    <a:pt x="5705" y="789"/>
                  </a:lnTo>
                  <a:lnTo>
                    <a:pt x="5714" y="790"/>
                  </a:lnTo>
                  <a:lnTo>
                    <a:pt x="5723" y="793"/>
                  </a:lnTo>
                  <a:lnTo>
                    <a:pt x="5732" y="795"/>
                  </a:lnTo>
                  <a:lnTo>
                    <a:pt x="5739" y="799"/>
                  </a:lnTo>
                  <a:lnTo>
                    <a:pt x="5747" y="802"/>
                  </a:lnTo>
                  <a:lnTo>
                    <a:pt x="5754" y="807"/>
                  </a:lnTo>
                  <a:lnTo>
                    <a:pt x="5761" y="812"/>
                  </a:lnTo>
                  <a:lnTo>
                    <a:pt x="5767" y="817"/>
                  </a:lnTo>
                  <a:lnTo>
                    <a:pt x="5773" y="823"/>
                  </a:lnTo>
                  <a:lnTo>
                    <a:pt x="5779" y="830"/>
                  </a:lnTo>
                  <a:lnTo>
                    <a:pt x="5784" y="837"/>
                  </a:lnTo>
                  <a:lnTo>
                    <a:pt x="5789" y="845"/>
                  </a:lnTo>
                  <a:lnTo>
                    <a:pt x="5793" y="853"/>
                  </a:lnTo>
                  <a:lnTo>
                    <a:pt x="5797" y="861"/>
                  </a:lnTo>
                  <a:lnTo>
                    <a:pt x="5800" y="868"/>
                  </a:lnTo>
                  <a:lnTo>
                    <a:pt x="5802" y="875"/>
                  </a:lnTo>
                  <a:lnTo>
                    <a:pt x="5806" y="890"/>
                  </a:lnTo>
                  <a:lnTo>
                    <a:pt x="5809" y="906"/>
                  </a:lnTo>
                  <a:lnTo>
                    <a:pt x="5812" y="924"/>
                  </a:lnTo>
                  <a:lnTo>
                    <a:pt x="5814" y="945"/>
                  </a:lnTo>
                  <a:lnTo>
                    <a:pt x="5816" y="969"/>
                  </a:lnTo>
                  <a:lnTo>
                    <a:pt x="5816" y="981"/>
                  </a:lnTo>
                  <a:lnTo>
                    <a:pt x="5816" y="995"/>
                  </a:lnTo>
                  <a:lnTo>
                    <a:pt x="5817" y="1024"/>
                  </a:lnTo>
                  <a:lnTo>
                    <a:pt x="5817" y="1478"/>
                  </a:lnTo>
                  <a:lnTo>
                    <a:pt x="6077" y="1478"/>
                  </a:lnTo>
                  <a:lnTo>
                    <a:pt x="6077" y="1041"/>
                  </a:lnTo>
                  <a:lnTo>
                    <a:pt x="6077" y="1026"/>
                  </a:lnTo>
                  <a:lnTo>
                    <a:pt x="6077" y="1011"/>
                  </a:lnTo>
                  <a:lnTo>
                    <a:pt x="6078" y="997"/>
                  </a:lnTo>
                  <a:lnTo>
                    <a:pt x="6079" y="983"/>
                  </a:lnTo>
                  <a:lnTo>
                    <a:pt x="6081" y="970"/>
                  </a:lnTo>
                  <a:lnTo>
                    <a:pt x="6083" y="957"/>
                  </a:lnTo>
                  <a:lnTo>
                    <a:pt x="6085" y="944"/>
                  </a:lnTo>
                  <a:lnTo>
                    <a:pt x="6087" y="932"/>
                  </a:lnTo>
                  <a:lnTo>
                    <a:pt x="6093" y="910"/>
                  </a:lnTo>
                  <a:lnTo>
                    <a:pt x="6096" y="899"/>
                  </a:lnTo>
                  <a:lnTo>
                    <a:pt x="6100" y="889"/>
                  </a:lnTo>
                  <a:lnTo>
                    <a:pt x="6104" y="879"/>
                  </a:lnTo>
                  <a:lnTo>
                    <a:pt x="6108" y="870"/>
                  </a:lnTo>
                  <a:lnTo>
                    <a:pt x="6113" y="861"/>
                  </a:lnTo>
                  <a:lnTo>
                    <a:pt x="6118" y="853"/>
                  </a:lnTo>
                  <a:lnTo>
                    <a:pt x="6123" y="845"/>
                  </a:lnTo>
                  <a:lnTo>
                    <a:pt x="6129" y="838"/>
                  </a:lnTo>
                  <a:lnTo>
                    <a:pt x="6135" y="831"/>
                  </a:lnTo>
                  <a:lnTo>
                    <a:pt x="6141" y="824"/>
                  </a:lnTo>
                  <a:lnTo>
                    <a:pt x="6148" y="819"/>
                  </a:lnTo>
                  <a:lnTo>
                    <a:pt x="6155" y="813"/>
                  </a:lnTo>
                  <a:lnTo>
                    <a:pt x="6162" y="808"/>
                  </a:lnTo>
                  <a:lnTo>
                    <a:pt x="6169" y="804"/>
                  </a:lnTo>
                  <a:lnTo>
                    <a:pt x="6177" y="800"/>
                  </a:lnTo>
                  <a:lnTo>
                    <a:pt x="6185" y="797"/>
                  </a:lnTo>
                  <a:lnTo>
                    <a:pt x="6194" y="794"/>
                  </a:lnTo>
                  <a:lnTo>
                    <a:pt x="6202" y="792"/>
                  </a:lnTo>
                  <a:lnTo>
                    <a:pt x="6211" y="790"/>
                  </a:lnTo>
                  <a:lnTo>
                    <a:pt x="6221" y="789"/>
                  </a:lnTo>
                  <a:lnTo>
                    <a:pt x="6230" y="788"/>
                  </a:lnTo>
                  <a:lnTo>
                    <a:pt x="6240" y="788"/>
                  </a:lnTo>
                  <a:lnTo>
                    <a:pt x="6252" y="788"/>
                  </a:lnTo>
                  <a:lnTo>
                    <a:pt x="6263" y="789"/>
                  </a:lnTo>
                  <a:lnTo>
                    <a:pt x="6273" y="791"/>
                  </a:lnTo>
                  <a:lnTo>
                    <a:pt x="6283" y="793"/>
                  </a:lnTo>
                  <a:lnTo>
                    <a:pt x="6293" y="796"/>
                  </a:lnTo>
                  <a:lnTo>
                    <a:pt x="6302" y="800"/>
                  </a:lnTo>
                  <a:lnTo>
                    <a:pt x="6306" y="802"/>
                  </a:lnTo>
                  <a:lnTo>
                    <a:pt x="6310" y="804"/>
                  </a:lnTo>
                  <a:lnTo>
                    <a:pt x="6318" y="809"/>
                  </a:lnTo>
                  <a:lnTo>
                    <a:pt x="6325" y="815"/>
                  </a:lnTo>
                  <a:lnTo>
                    <a:pt x="6332" y="821"/>
                  </a:lnTo>
                  <a:lnTo>
                    <a:pt x="6338" y="829"/>
                  </a:lnTo>
                  <a:lnTo>
                    <a:pt x="6344" y="837"/>
                  </a:lnTo>
                  <a:lnTo>
                    <a:pt x="6349" y="845"/>
                  </a:lnTo>
                  <a:lnTo>
                    <a:pt x="6353" y="855"/>
                  </a:lnTo>
                  <a:lnTo>
                    <a:pt x="6357" y="865"/>
                  </a:lnTo>
                  <a:lnTo>
                    <a:pt x="6360" y="876"/>
                  </a:lnTo>
                  <a:lnTo>
                    <a:pt x="6362" y="887"/>
                  </a:lnTo>
                  <a:lnTo>
                    <a:pt x="6364" y="900"/>
                  </a:lnTo>
                  <a:lnTo>
                    <a:pt x="6366" y="915"/>
                  </a:lnTo>
                  <a:lnTo>
                    <a:pt x="6367" y="931"/>
                  </a:lnTo>
                  <a:lnTo>
                    <a:pt x="6369" y="969"/>
                  </a:lnTo>
                  <a:lnTo>
                    <a:pt x="6370" y="990"/>
                  </a:lnTo>
                  <a:lnTo>
                    <a:pt x="6370" y="1011"/>
                  </a:lnTo>
                  <a:lnTo>
                    <a:pt x="6370" y="1478"/>
                  </a:lnTo>
                  <a:lnTo>
                    <a:pt x="6630" y="1478"/>
                  </a:lnTo>
                  <a:close/>
                  <a:moveTo>
                    <a:pt x="2027" y="314"/>
                  </a:moveTo>
                  <a:lnTo>
                    <a:pt x="2012" y="315"/>
                  </a:lnTo>
                  <a:lnTo>
                    <a:pt x="2005" y="316"/>
                  </a:lnTo>
                  <a:lnTo>
                    <a:pt x="1998" y="317"/>
                  </a:lnTo>
                  <a:lnTo>
                    <a:pt x="1991" y="318"/>
                  </a:lnTo>
                  <a:lnTo>
                    <a:pt x="1985" y="320"/>
                  </a:lnTo>
                  <a:lnTo>
                    <a:pt x="1979" y="322"/>
                  </a:lnTo>
                  <a:lnTo>
                    <a:pt x="1972" y="324"/>
                  </a:lnTo>
                  <a:lnTo>
                    <a:pt x="1961" y="330"/>
                  </a:lnTo>
                  <a:lnTo>
                    <a:pt x="1955" y="333"/>
                  </a:lnTo>
                  <a:lnTo>
                    <a:pt x="1950" y="337"/>
                  </a:lnTo>
                  <a:lnTo>
                    <a:pt x="1940" y="344"/>
                  </a:lnTo>
                  <a:lnTo>
                    <a:pt x="1935" y="349"/>
                  </a:lnTo>
                  <a:lnTo>
                    <a:pt x="1931" y="353"/>
                  </a:lnTo>
                  <a:lnTo>
                    <a:pt x="1923" y="363"/>
                  </a:lnTo>
                  <a:lnTo>
                    <a:pt x="1919" y="369"/>
                  </a:lnTo>
                  <a:lnTo>
                    <a:pt x="1916" y="374"/>
                  </a:lnTo>
                  <a:lnTo>
                    <a:pt x="1913" y="380"/>
                  </a:lnTo>
                  <a:lnTo>
                    <a:pt x="1910" y="386"/>
                  </a:lnTo>
                  <a:lnTo>
                    <a:pt x="1905" y="399"/>
                  </a:lnTo>
                  <a:lnTo>
                    <a:pt x="1901" y="413"/>
                  </a:lnTo>
                  <a:lnTo>
                    <a:pt x="1899" y="420"/>
                  </a:lnTo>
                  <a:lnTo>
                    <a:pt x="1898" y="427"/>
                  </a:lnTo>
                  <a:lnTo>
                    <a:pt x="1896" y="443"/>
                  </a:lnTo>
                  <a:lnTo>
                    <a:pt x="1896" y="451"/>
                  </a:lnTo>
                  <a:lnTo>
                    <a:pt x="1896" y="459"/>
                  </a:lnTo>
                  <a:lnTo>
                    <a:pt x="1896" y="571"/>
                  </a:lnTo>
                  <a:lnTo>
                    <a:pt x="2079" y="571"/>
                  </a:lnTo>
                  <a:lnTo>
                    <a:pt x="2079" y="777"/>
                  </a:lnTo>
                  <a:lnTo>
                    <a:pt x="1896" y="777"/>
                  </a:lnTo>
                  <a:lnTo>
                    <a:pt x="1896" y="1479"/>
                  </a:lnTo>
                  <a:lnTo>
                    <a:pt x="1645" y="1479"/>
                  </a:lnTo>
                  <a:lnTo>
                    <a:pt x="1645" y="779"/>
                  </a:lnTo>
                  <a:lnTo>
                    <a:pt x="1529" y="779"/>
                  </a:lnTo>
                  <a:lnTo>
                    <a:pt x="1529" y="576"/>
                  </a:lnTo>
                  <a:lnTo>
                    <a:pt x="1645" y="576"/>
                  </a:lnTo>
                  <a:lnTo>
                    <a:pt x="1645" y="482"/>
                  </a:lnTo>
                  <a:lnTo>
                    <a:pt x="1645" y="447"/>
                  </a:lnTo>
                  <a:lnTo>
                    <a:pt x="1646" y="430"/>
                  </a:lnTo>
                  <a:lnTo>
                    <a:pt x="1647" y="412"/>
                  </a:lnTo>
                  <a:lnTo>
                    <a:pt x="1649" y="395"/>
                  </a:lnTo>
                  <a:lnTo>
                    <a:pt x="1650" y="377"/>
                  </a:lnTo>
                  <a:lnTo>
                    <a:pt x="1653" y="360"/>
                  </a:lnTo>
                  <a:lnTo>
                    <a:pt x="1655" y="343"/>
                  </a:lnTo>
                  <a:lnTo>
                    <a:pt x="1659" y="326"/>
                  </a:lnTo>
                  <a:lnTo>
                    <a:pt x="1663" y="310"/>
                  </a:lnTo>
                  <a:lnTo>
                    <a:pt x="1667" y="294"/>
                  </a:lnTo>
                  <a:lnTo>
                    <a:pt x="1672" y="278"/>
                  </a:lnTo>
                  <a:lnTo>
                    <a:pt x="1678" y="262"/>
                  </a:lnTo>
                  <a:lnTo>
                    <a:pt x="1685" y="247"/>
                  </a:lnTo>
                  <a:lnTo>
                    <a:pt x="1692" y="233"/>
                  </a:lnTo>
                  <a:lnTo>
                    <a:pt x="1696" y="225"/>
                  </a:lnTo>
                  <a:lnTo>
                    <a:pt x="1700" y="218"/>
                  </a:lnTo>
                  <a:lnTo>
                    <a:pt x="1705" y="212"/>
                  </a:lnTo>
                  <a:lnTo>
                    <a:pt x="1709" y="205"/>
                  </a:lnTo>
                  <a:lnTo>
                    <a:pt x="1719" y="192"/>
                  </a:lnTo>
                  <a:lnTo>
                    <a:pt x="1730" y="180"/>
                  </a:lnTo>
                  <a:lnTo>
                    <a:pt x="1742" y="168"/>
                  </a:lnTo>
                  <a:lnTo>
                    <a:pt x="1755" y="157"/>
                  </a:lnTo>
                  <a:lnTo>
                    <a:pt x="1761" y="152"/>
                  </a:lnTo>
                  <a:lnTo>
                    <a:pt x="1769" y="147"/>
                  </a:lnTo>
                  <a:lnTo>
                    <a:pt x="1784" y="137"/>
                  </a:lnTo>
                  <a:lnTo>
                    <a:pt x="1791" y="133"/>
                  </a:lnTo>
                  <a:lnTo>
                    <a:pt x="1800" y="129"/>
                  </a:lnTo>
                  <a:lnTo>
                    <a:pt x="1817" y="121"/>
                  </a:lnTo>
                  <a:lnTo>
                    <a:pt x="1826" y="117"/>
                  </a:lnTo>
                  <a:lnTo>
                    <a:pt x="1835" y="114"/>
                  </a:lnTo>
                  <a:lnTo>
                    <a:pt x="1855" y="108"/>
                  </a:lnTo>
                  <a:lnTo>
                    <a:pt x="1876" y="103"/>
                  </a:lnTo>
                  <a:lnTo>
                    <a:pt x="1899" y="99"/>
                  </a:lnTo>
                  <a:lnTo>
                    <a:pt x="1910" y="98"/>
                  </a:lnTo>
                  <a:lnTo>
                    <a:pt x="1923" y="96"/>
                  </a:lnTo>
                  <a:lnTo>
                    <a:pt x="1948" y="95"/>
                  </a:lnTo>
                  <a:lnTo>
                    <a:pt x="1961" y="94"/>
                  </a:lnTo>
                  <a:lnTo>
                    <a:pt x="1974" y="94"/>
                  </a:lnTo>
                  <a:lnTo>
                    <a:pt x="1999" y="94"/>
                  </a:lnTo>
                  <a:lnTo>
                    <a:pt x="2021" y="95"/>
                  </a:lnTo>
                  <a:lnTo>
                    <a:pt x="2041" y="97"/>
                  </a:lnTo>
                  <a:lnTo>
                    <a:pt x="2061" y="99"/>
                  </a:lnTo>
                  <a:lnTo>
                    <a:pt x="2080" y="102"/>
                  </a:lnTo>
                  <a:lnTo>
                    <a:pt x="2100" y="106"/>
                  </a:lnTo>
                  <a:lnTo>
                    <a:pt x="2122" y="110"/>
                  </a:lnTo>
                  <a:lnTo>
                    <a:pt x="2146" y="115"/>
                  </a:lnTo>
                  <a:lnTo>
                    <a:pt x="2146" y="330"/>
                  </a:lnTo>
                  <a:lnTo>
                    <a:pt x="2122" y="325"/>
                  </a:lnTo>
                  <a:lnTo>
                    <a:pt x="2110" y="322"/>
                  </a:lnTo>
                  <a:lnTo>
                    <a:pt x="2097" y="319"/>
                  </a:lnTo>
                  <a:lnTo>
                    <a:pt x="2082" y="317"/>
                  </a:lnTo>
                  <a:lnTo>
                    <a:pt x="2066" y="316"/>
                  </a:lnTo>
                  <a:lnTo>
                    <a:pt x="2048" y="315"/>
                  </a:lnTo>
                  <a:lnTo>
                    <a:pt x="2027" y="31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013">
                <a:solidFill>
                  <a:srgbClr val="000000"/>
                </a:solidFill>
                <a:cs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782461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Только заголовок" type="titleOnly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7991" y="260648"/>
            <a:ext cx="8508023" cy="720000"/>
          </a:xfrm>
          <a:prstGeom prst="rect">
            <a:avLst/>
          </a:prstGeom>
        </p:spPr>
        <p:txBody>
          <a:bodyPr lIns="91344" tIns="45675" rIns="91344" bIns="45675"/>
          <a:lstStyle/>
          <a:p>
            <a:r>
              <a:rPr lang="ru-RU" smtClean="0"/>
              <a:t>Образец заголовка</a:t>
            </a:r>
            <a:endParaRPr lang="fi-FI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50644" y="6455150"/>
            <a:ext cx="1329104" cy="144463"/>
          </a:xfrm>
          <a:prstGeom prst="rect">
            <a:avLst/>
          </a:prstGeom>
        </p:spPr>
        <p:txBody>
          <a:bodyPr lIns="91344" tIns="45675" rIns="91344" bIns="45675"/>
          <a:lstStyle>
            <a:lvl1pPr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en-US" smtClean="0">
                <a:solidFill>
                  <a:prstClr val="black"/>
                </a:solidFill>
              </a:rPr>
              <a:t>16.11.2016</a:t>
            </a:r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979925" y="6455150"/>
            <a:ext cx="4040065" cy="144463"/>
          </a:xfrm>
          <a:prstGeom prst="rect">
            <a:avLst/>
          </a:prstGeom>
        </p:spPr>
        <p:txBody>
          <a:bodyPr lIns="91344" tIns="45675" rIns="91344" bIns="45675"/>
          <a:lstStyle>
            <a:lvl1pPr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ru-RU" smtClean="0">
                <a:solidFill>
                  <a:prstClr val="black"/>
                </a:solidFill>
              </a:rPr>
              <a:t> </a:t>
            </a:r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A436343-1400-496A-84DD-C5A03C4E2661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062462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7283" y="404813"/>
            <a:ext cx="8043496" cy="10795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7283" y="1628775"/>
            <a:ext cx="8043496" cy="42481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12"/>
          <p:cNvSpPr>
            <a:spLocks noGrp="1" noChangeArrowheads="1"/>
          </p:cNvSpPr>
          <p:nvPr>
            <p:ph type="dt" sz="half" idx="10"/>
          </p:nvPr>
        </p:nvSpPr>
        <p:spPr>
          <a:xfrm>
            <a:off x="517281" y="6308746"/>
            <a:ext cx="2127738" cy="2889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r>
              <a:rPr lang="en-US" smtClean="0">
                <a:solidFill>
                  <a:prstClr val="black"/>
                </a:solidFill>
              </a:rPr>
              <a:t>16.11.2016</a:t>
            </a:r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Rectangle 13"/>
          <p:cNvSpPr>
            <a:spLocks noGrp="1" noChangeArrowheads="1"/>
          </p:cNvSpPr>
          <p:nvPr>
            <p:ph type="ftr" sz="quarter" idx="11"/>
          </p:nvPr>
        </p:nvSpPr>
        <p:spPr>
          <a:xfrm>
            <a:off x="2645020" y="6308746"/>
            <a:ext cx="4784480" cy="2889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r>
              <a:rPr lang="ru-RU" smtClean="0">
                <a:solidFill>
                  <a:prstClr val="black"/>
                </a:solidFill>
              </a:rPr>
              <a:t> </a:t>
            </a:r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Rectangle 14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779949A-56EE-4010-82F7-66B1789104A8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568454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3" y="2130680"/>
            <a:ext cx="7772400" cy="1470025"/>
          </a:xfrm>
          <a:prstGeom prst="rect">
            <a:avLst/>
          </a:prstGeom>
        </p:spPr>
        <p:txBody>
          <a:bodyPr lIns="91344" tIns="45675" rIns="91344" bIns="45675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3" y="3886200"/>
            <a:ext cx="6400800" cy="1752600"/>
          </a:xfrm>
          <a:prstGeom prst="rect">
            <a:avLst/>
          </a:prstGeom>
        </p:spPr>
        <p:txBody>
          <a:bodyPr lIns="91344" tIns="45675" rIns="91344" bIns="45675"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162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32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9486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2648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5810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8972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2134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5296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356596"/>
            <a:ext cx="2133600" cy="365125"/>
          </a:xfrm>
          <a:prstGeom prst="rect">
            <a:avLst/>
          </a:prstGeom>
        </p:spPr>
        <p:txBody>
          <a:bodyPr lIns="91344" tIns="45675" rIns="91344" bIns="45675"/>
          <a:lstStyle/>
          <a:p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16.11.2016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3" y="6356596"/>
            <a:ext cx="2895600" cy="365125"/>
          </a:xfrm>
          <a:prstGeom prst="rect">
            <a:avLst/>
          </a:prstGeom>
        </p:spPr>
        <p:txBody>
          <a:bodyPr lIns="91344" tIns="45675" rIns="91344" bIns="45675"/>
          <a:lstStyle/>
          <a:p>
            <a:r>
              <a:rPr lang="ru-RU" smtClean="0">
                <a:solidFill>
                  <a:prstClr val="black">
                    <a:tint val="75000"/>
                  </a:prstClr>
                </a:solidFill>
              </a:rPr>
              <a:t> </a:t>
            </a: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0C1329-013D-4528-A652-EA863D81C51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583423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2" descr="C:\Users\borisyul\AppData\Local\Temp\Rar$DR01.403\Fortum_Ru_byline_free zone.jpg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657243" y="6256338"/>
            <a:ext cx="2337288" cy="531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3" name="Прямая соединительная линия 2"/>
          <p:cNvCxnSpPr/>
          <p:nvPr userDrawn="1"/>
        </p:nvCxnSpPr>
        <p:spPr>
          <a:xfrm>
            <a:off x="316525" y="1042988"/>
            <a:ext cx="8521212" cy="0"/>
          </a:xfrm>
          <a:prstGeom prst="line">
            <a:avLst/>
          </a:prstGeom>
          <a:ln>
            <a:solidFill>
              <a:srgbClr val="74B929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" name="Прямая соединительная линия 3"/>
          <p:cNvCxnSpPr/>
          <p:nvPr userDrawn="1"/>
        </p:nvCxnSpPr>
        <p:spPr>
          <a:xfrm>
            <a:off x="316525" y="6186488"/>
            <a:ext cx="8521212" cy="0"/>
          </a:xfrm>
          <a:prstGeom prst="line">
            <a:avLst/>
          </a:prstGeom>
          <a:ln>
            <a:solidFill>
              <a:srgbClr val="74B929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dirty="0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ru-RU">
                <a:solidFill>
                  <a:srgbClr val="000000"/>
                </a:solidFill>
              </a:rPr>
              <a:t>№</a:t>
            </a:r>
            <a:endParaRPr lang="fi-FI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8408580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 Picture" preserve="1" userDrawn="1">
  <p:cSld name="Title Slid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 userDrawn="1"/>
        </p:nvSpPr>
        <p:spPr>
          <a:xfrm>
            <a:off x="7758357" y="6237312"/>
            <a:ext cx="1134127" cy="46805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013">
              <a:solidFill>
                <a:prstClr val="white"/>
              </a:solidFill>
            </a:endParaRPr>
          </a:p>
        </p:txBody>
      </p:sp>
      <p:sp>
        <p:nvSpPr>
          <p:cNvPr id="21" name="Rectangle 20"/>
          <p:cNvSpPr>
            <a:spLocks/>
          </p:cNvSpPr>
          <p:nvPr userDrawn="1"/>
        </p:nvSpPr>
        <p:spPr>
          <a:xfrm>
            <a:off x="893045" y="0"/>
            <a:ext cx="442800" cy="27160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013">
              <a:solidFill>
                <a:prstClr val="white"/>
              </a:solidFill>
            </a:endParaRPr>
          </a:p>
        </p:txBody>
      </p:sp>
      <p:sp>
        <p:nvSpPr>
          <p:cNvPr id="22" name="Rectangle 21"/>
          <p:cNvSpPr>
            <a:spLocks noChangeAspect="1"/>
          </p:cNvSpPr>
          <p:nvPr userDrawn="1"/>
        </p:nvSpPr>
        <p:spPr>
          <a:xfrm>
            <a:off x="729865" y="970447"/>
            <a:ext cx="177512" cy="23668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013">
              <a:solidFill>
                <a:prstClr val="white"/>
              </a:solidFill>
            </a:endParaRPr>
          </a:p>
        </p:txBody>
      </p:sp>
      <p:sp>
        <p:nvSpPr>
          <p:cNvPr id="24" name="Rectangle 23"/>
          <p:cNvSpPr>
            <a:spLocks noChangeAspect="1"/>
          </p:cNvSpPr>
          <p:nvPr userDrawn="1"/>
        </p:nvSpPr>
        <p:spPr>
          <a:xfrm>
            <a:off x="4" y="0"/>
            <a:ext cx="580557" cy="774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13">
              <a:solidFill>
                <a:prstClr val="white"/>
              </a:solidFill>
            </a:endParaRPr>
          </a:p>
        </p:txBody>
      </p:sp>
      <p:sp>
        <p:nvSpPr>
          <p:cNvPr id="25" name="Rectangle 24"/>
          <p:cNvSpPr/>
          <p:nvPr userDrawn="1"/>
        </p:nvSpPr>
        <p:spPr>
          <a:xfrm>
            <a:off x="0" y="764629"/>
            <a:ext cx="164700" cy="219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013">
              <a:solidFill>
                <a:prstClr val="white"/>
              </a:solidFill>
            </a:endParaRPr>
          </a:p>
        </p:txBody>
      </p:sp>
      <p:sp>
        <p:nvSpPr>
          <p:cNvPr id="23" name="Picture Placeholder 22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144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0380476" y="6273316"/>
                </a:moveTo>
                <a:lnTo>
                  <a:pt x="10380476" y="6669360"/>
                </a:lnTo>
                <a:lnTo>
                  <a:pt x="11820636" y="6669360"/>
                </a:lnTo>
                <a:lnTo>
                  <a:pt x="11820636" y="6273316"/>
                </a:lnTo>
                <a:close/>
                <a:moveTo>
                  <a:pt x="983432" y="980728"/>
                </a:moveTo>
                <a:lnTo>
                  <a:pt x="983432" y="1196975"/>
                </a:lnTo>
                <a:lnTo>
                  <a:pt x="1199679" y="1196975"/>
                </a:lnTo>
                <a:lnTo>
                  <a:pt x="1199679" y="980728"/>
                </a:lnTo>
                <a:close/>
                <a:moveTo>
                  <a:pt x="767408" y="0"/>
                </a:moveTo>
                <a:lnTo>
                  <a:pt x="1199456" y="0"/>
                </a:lnTo>
                <a:lnTo>
                  <a:pt x="1199456" y="260648"/>
                </a:lnTo>
                <a:lnTo>
                  <a:pt x="1775520" y="260648"/>
                </a:lnTo>
                <a:lnTo>
                  <a:pt x="1775520" y="0"/>
                </a:lnTo>
                <a:lnTo>
                  <a:pt x="12192000" y="0"/>
                </a:lnTo>
                <a:lnTo>
                  <a:pt x="12192000" y="5517290"/>
                </a:lnTo>
                <a:lnTo>
                  <a:pt x="12192000" y="6858000"/>
                </a:lnTo>
                <a:lnTo>
                  <a:pt x="12000656" y="6858000"/>
                </a:lnTo>
                <a:lnTo>
                  <a:pt x="11641138" y="6858000"/>
                </a:lnTo>
                <a:lnTo>
                  <a:pt x="10236460" y="6858000"/>
                </a:lnTo>
                <a:lnTo>
                  <a:pt x="10056440" y="6858000"/>
                </a:lnTo>
                <a:lnTo>
                  <a:pt x="9408460" y="6858000"/>
                </a:lnTo>
                <a:lnTo>
                  <a:pt x="0" y="6858000"/>
                </a:lnTo>
                <a:lnTo>
                  <a:pt x="0" y="980728"/>
                </a:lnTo>
                <a:lnTo>
                  <a:pt x="216545" y="980728"/>
                </a:lnTo>
                <a:lnTo>
                  <a:pt x="216545" y="764704"/>
                </a:lnTo>
                <a:lnTo>
                  <a:pt x="767408" y="764704"/>
                </a:lnTo>
                <a:close/>
              </a:path>
            </a:pathLst>
          </a:custGeom>
          <a:solidFill>
            <a:srgbClr val="EAEAEA"/>
          </a:solidFill>
        </p:spPr>
        <p:txBody>
          <a:bodyPr/>
          <a:lstStyle>
            <a:lvl1pPr marL="0" indent="0" algn="r">
              <a:buFontTx/>
              <a:buNone/>
              <a:defRPr sz="675"/>
            </a:lvl1pPr>
          </a:lstStyle>
          <a:p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13153" y="1926000"/>
            <a:ext cx="6912769" cy="1296000"/>
          </a:xfrm>
        </p:spPr>
        <p:txBody>
          <a:bodyPr anchor="t" anchorCtr="0"/>
          <a:lstStyle>
            <a:lvl1pPr algn="l">
              <a:defRPr sz="2813" b="1">
                <a:solidFill>
                  <a:schemeClr val="accent2"/>
                </a:solidFill>
              </a:defRPr>
            </a:lvl1pPr>
          </a:lstStyle>
          <a:p>
            <a:r>
              <a:rPr lang="ru-RU" dirty="0" smtClean="0"/>
              <a:t>Заголовок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13153" y="1404000"/>
            <a:ext cx="6912769" cy="360000"/>
          </a:xfrm>
        </p:spPr>
        <p:txBody>
          <a:bodyPr anchor="b" anchorCtr="0"/>
          <a:lstStyle>
            <a:lvl1pPr marL="0" indent="0" algn="l">
              <a:buNone/>
              <a:defRPr sz="1125">
                <a:solidFill>
                  <a:schemeClr val="accent2"/>
                </a:solidFill>
              </a:defRPr>
            </a:lvl1pPr>
            <a:lvl2pPr marL="257175" indent="0" algn="ctr">
              <a:buNone/>
              <a:defRPr sz="1125"/>
            </a:lvl2pPr>
            <a:lvl3pPr marL="514350" indent="0" algn="ctr">
              <a:buNone/>
              <a:defRPr sz="1013"/>
            </a:lvl3pPr>
            <a:lvl4pPr marL="771525" indent="0" algn="ctr">
              <a:buNone/>
              <a:defRPr sz="900"/>
            </a:lvl4pPr>
            <a:lvl5pPr marL="1028700" indent="0" algn="ctr">
              <a:buNone/>
              <a:defRPr sz="900"/>
            </a:lvl5pPr>
            <a:lvl6pPr marL="1285875" indent="0" algn="ctr">
              <a:buNone/>
              <a:defRPr sz="900"/>
            </a:lvl6pPr>
            <a:lvl7pPr marL="1543050" indent="0" algn="ctr">
              <a:buNone/>
              <a:defRPr sz="900"/>
            </a:lvl7pPr>
            <a:lvl8pPr marL="1800225" indent="0" algn="ctr">
              <a:buNone/>
              <a:defRPr sz="900"/>
            </a:lvl8pPr>
            <a:lvl9pPr marL="2057400" indent="0" algn="ctr">
              <a:buNone/>
              <a:defRPr sz="900"/>
            </a:lvl9pPr>
          </a:lstStyle>
          <a:p>
            <a:r>
              <a:rPr lang="ru-RU" dirty="0" smtClean="0"/>
              <a:t>Образец стиля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 smtClean="0"/>
              <a:t>16.11.2016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 smtClean="0"/>
              <a:t>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fld id="{F90E5A77-D385-4CDE-8FE8-D3E3CBE93E7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413153" y="4653136"/>
            <a:ext cx="6912769" cy="720552"/>
          </a:xfrm>
        </p:spPr>
        <p:txBody>
          <a:bodyPr/>
          <a:lstStyle>
            <a:lvl1pPr marL="0" indent="0">
              <a:buFontTx/>
              <a:buNone/>
              <a:defRPr baseline="0"/>
            </a:lvl1pPr>
          </a:lstStyle>
          <a:p>
            <a:pPr lvl="0"/>
            <a:r>
              <a:rPr lang="ru-RU" dirty="0" smtClean="0"/>
              <a:t>Имя</a:t>
            </a:r>
            <a:r>
              <a:rPr lang="en-US" dirty="0" smtClean="0"/>
              <a:t> / </a:t>
            </a:r>
            <a:r>
              <a:rPr lang="ru-RU" dirty="0" smtClean="0"/>
              <a:t>Название</a:t>
            </a:r>
            <a:r>
              <a:rPr lang="en-US" dirty="0" smtClean="0"/>
              <a:t> / </a:t>
            </a:r>
            <a:r>
              <a:rPr lang="ru-RU" dirty="0" smtClean="0"/>
              <a:t>Дата</a:t>
            </a:r>
            <a:endParaRPr lang="en-US" dirty="0" smtClean="0"/>
          </a:p>
        </p:txBody>
      </p:sp>
      <p:pic>
        <p:nvPicPr>
          <p:cNvPr id="17" name="Рисунок 1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0374" y="6334012"/>
            <a:ext cx="836965" cy="2746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9799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 Nega Picture" preserve="1" userDrawn="1">
  <p:cSld name="Title Slide Nega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>
            <a:spLocks/>
          </p:cNvSpPr>
          <p:nvPr userDrawn="1"/>
        </p:nvSpPr>
        <p:spPr>
          <a:xfrm>
            <a:off x="893045" y="0"/>
            <a:ext cx="442800" cy="27160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013">
              <a:solidFill>
                <a:prstClr val="white"/>
              </a:solidFill>
            </a:endParaRPr>
          </a:p>
        </p:txBody>
      </p:sp>
      <p:sp>
        <p:nvSpPr>
          <p:cNvPr id="21" name="Rectangle 20"/>
          <p:cNvSpPr>
            <a:spLocks noChangeAspect="1"/>
          </p:cNvSpPr>
          <p:nvPr userDrawn="1"/>
        </p:nvSpPr>
        <p:spPr>
          <a:xfrm>
            <a:off x="729865" y="970447"/>
            <a:ext cx="177512" cy="23668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013">
              <a:solidFill>
                <a:prstClr val="white"/>
              </a:solidFill>
            </a:endParaRPr>
          </a:p>
        </p:txBody>
      </p:sp>
      <p:sp>
        <p:nvSpPr>
          <p:cNvPr id="22" name="Rectangle 21"/>
          <p:cNvSpPr>
            <a:spLocks noChangeAspect="1"/>
          </p:cNvSpPr>
          <p:nvPr userDrawn="1"/>
        </p:nvSpPr>
        <p:spPr>
          <a:xfrm>
            <a:off x="4" y="0"/>
            <a:ext cx="580557" cy="774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13">
              <a:solidFill>
                <a:prstClr val="white"/>
              </a:solidFill>
            </a:endParaRPr>
          </a:p>
        </p:txBody>
      </p:sp>
      <p:sp>
        <p:nvSpPr>
          <p:cNvPr id="24" name="Rectangle 23"/>
          <p:cNvSpPr/>
          <p:nvPr userDrawn="1"/>
        </p:nvSpPr>
        <p:spPr>
          <a:xfrm>
            <a:off x="0" y="764629"/>
            <a:ext cx="164700" cy="219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013">
              <a:solidFill>
                <a:prstClr val="white"/>
              </a:solidFill>
            </a:endParaRPr>
          </a:p>
        </p:txBody>
      </p:sp>
      <p:sp>
        <p:nvSpPr>
          <p:cNvPr id="17" name="Rectangle 16"/>
          <p:cNvSpPr/>
          <p:nvPr userDrawn="1"/>
        </p:nvSpPr>
        <p:spPr>
          <a:xfrm>
            <a:off x="7758357" y="6237312"/>
            <a:ext cx="1134127" cy="46805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013">
              <a:solidFill>
                <a:prstClr val="white"/>
              </a:solidFill>
            </a:endParaRPr>
          </a:p>
        </p:txBody>
      </p:sp>
      <p:sp>
        <p:nvSpPr>
          <p:cNvPr id="19" name="Picture Placeholder 22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144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0380476" y="6273316"/>
                </a:moveTo>
                <a:lnTo>
                  <a:pt x="10380476" y="6669360"/>
                </a:lnTo>
                <a:lnTo>
                  <a:pt x="11820636" y="6669360"/>
                </a:lnTo>
                <a:lnTo>
                  <a:pt x="11820636" y="6273316"/>
                </a:lnTo>
                <a:close/>
                <a:moveTo>
                  <a:pt x="983432" y="980728"/>
                </a:moveTo>
                <a:lnTo>
                  <a:pt x="983432" y="1196975"/>
                </a:lnTo>
                <a:lnTo>
                  <a:pt x="1199679" y="1196975"/>
                </a:lnTo>
                <a:lnTo>
                  <a:pt x="1199679" y="980728"/>
                </a:lnTo>
                <a:close/>
                <a:moveTo>
                  <a:pt x="767408" y="0"/>
                </a:moveTo>
                <a:lnTo>
                  <a:pt x="1199456" y="0"/>
                </a:lnTo>
                <a:lnTo>
                  <a:pt x="1199456" y="260648"/>
                </a:lnTo>
                <a:lnTo>
                  <a:pt x="1775520" y="260648"/>
                </a:lnTo>
                <a:lnTo>
                  <a:pt x="1775520" y="0"/>
                </a:lnTo>
                <a:lnTo>
                  <a:pt x="12192000" y="0"/>
                </a:lnTo>
                <a:lnTo>
                  <a:pt x="12192000" y="5517290"/>
                </a:lnTo>
                <a:lnTo>
                  <a:pt x="12192000" y="6858000"/>
                </a:lnTo>
                <a:lnTo>
                  <a:pt x="12000656" y="6858000"/>
                </a:lnTo>
                <a:lnTo>
                  <a:pt x="11641138" y="6858000"/>
                </a:lnTo>
                <a:lnTo>
                  <a:pt x="10236460" y="6858000"/>
                </a:lnTo>
                <a:lnTo>
                  <a:pt x="10056440" y="6858000"/>
                </a:lnTo>
                <a:lnTo>
                  <a:pt x="9408460" y="6858000"/>
                </a:lnTo>
                <a:lnTo>
                  <a:pt x="0" y="6858000"/>
                </a:lnTo>
                <a:lnTo>
                  <a:pt x="0" y="980728"/>
                </a:lnTo>
                <a:lnTo>
                  <a:pt x="216545" y="980728"/>
                </a:lnTo>
                <a:lnTo>
                  <a:pt x="216545" y="764704"/>
                </a:lnTo>
                <a:lnTo>
                  <a:pt x="767408" y="764704"/>
                </a:lnTo>
                <a:close/>
              </a:path>
            </a:pathLst>
          </a:custGeom>
          <a:solidFill>
            <a:srgbClr val="EAEAEA"/>
          </a:solidFill>
        </p:spPr>
        <p:txBody>
          <a:bodyPr/>
          <a:lstStyle>
            <a:lvl1pPr marL="0" indent="0" algn="r">
              <a:buFontTx/>
              <a:buNone/>
              <a:defRPr sz="675"/>
            </a:lvl1pPr>
          </a:lstStyle>
          <a:p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13153" y="1926000"/>
            <a:ext cx="6912769" cy="1296000"/>
          </a:xfrm>
        </p:spPr>
        <p:txBody>
          <a:bodyPr anchor="t" anchorCtr="0"/>
          <a:lstStyle>
            <a:lvl1pPr algn="l">
              <a:defRPr sz="2813" b="1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35000"/>
                    </a:prstClr>
                  </a:outerShdw>
                </a:effectLst>
              </a:defRPr>
            </a:lvl1pPr>
          </a:lstStyle>
          <a:p>
            <a:r>
              <a:rPr lang="ru-RU" dirty="0" smtClean="0"/>
              <a:t>Заголовок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13153" y="1404000"/>
            <a:ext cx="6912769" cy="360000"/>
          </a:xfrm>
        </p:spPr>
        <p:txBody>
          <a:bodyPr anchor="b" anchorCtr="0"/>
          <a:lstStyle>
            <a:lvl1pPr marL="0" indent="0" algn="l">
              <a:buNone/>
              <a:defRPr sz="1125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35000"/>
                    </a:prstClr>
                  </a:outerShdw>
                </a:effectLst>
              </a:defRPr>
            </a:lvl1pPr>
            <a:lvl2pPr marL="257175" indent="0" algn="ctr">
              <a:buNone/>
              <a:defRPr sz="1125"/>
            </a:lvl2pPr>
            <a:lvl3pPr marL="514350" indent="0" algn="ctr">
              <a:buNone/>
              <a:defRPr sz="1013"/>
            </a:lvl3pPr>
            <a:lvl4pPr marL="771525" indent="0" algn="ctr">
              <a:buNone/>
              <a:defRPr sz="900"/>
            </a:lvl4pPr>
            <a:lvl5pPr marL="1028700" indent="0" algn="ctr">
              <a:buNone/>
              <a:defRPr sz="900"/>
            </a:lvl5pPr>
            <a:lvl6pPr marL="1285875" indent="0" algn="ctr">
              <a:buNone/>
              <a:defRPr sz="900"/>
            </a:lvl6pPr>
            <a:lvl7pPr marL="1543050" indent="0" algn="ctr">
              <a:buNone/>
              <a:defRPr sz="900"/>
            </a:lvl7pPr>
            <a:lvl8pPr marL="1800225" indent="0" algn="ctr">
              <a:buNone/>
              <a:defRPr sz="900"/>
            </a:lvl8pPr>
            <a:lvl9pPr marL="2057400" indent="0" algn="ctr">
              <a:buNone/>
              <a:defRPr sz="900"/>
            </a:lvl9pPr>
          </a:lstStyle>
          <a:p>
            <a:r>
              <a:rPr lang="ru-RU" dirty="0" smtClean="0"/>
              <a:t>Образец стиля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 smtClean="0"/>
              <a:t>16.11.2016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 smtClean="0"/>
              <a:t>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>
                <a:noFill/>
              </a:defRPr>
            </a:lvl1pPr>
          </a:lstStyle>
          <a:p>
            <a:fld id="{F90E5A77-D385-4CDE-8FE8-D3E3CBE93E7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413153" y="4653136"/>
            <a:ext cx="6912769" cy="720552"/>
          </a:xfrm>
        </p:spPr>
        <p:txBody>
          <a:bodyPr/>
          <a:lstStyle>
            <a:lvl1pPr marL="0" indent="0">
              <a:buFontTx/>
              <a:buNone/>
              <a:defRPr baseline="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35000"/>
                    </a:prstClr>
                  </a:outerShdw>
                </a:effectLst>
              </a:defRPr>
            </a:lvl1pPr>
          </a:lstStyle>
          <a:p>
            <a:pPr lvl="0"/>
            <a:r>
              <a:rPr lang="ru-RU" dirty="0" smtClean="0"/>
              <a:t>Имя</a:t>
            </a:r>
            <a:r>
              <a:rPr lang="en-US" dirty="0" smtClean="0"/>
              <a:t> / </a:t>
            </a:r>
            <a:r>
              <a:rPr lang="ru-RU" dirty="0" smtClean="0"/>
              <a:t>Название</a:t>
            </a:r>
            <a:r>
              <a:rPr lang="en-US" dirty="0" smtClean="0"/>
              <a:t> / </a:t>
            </a:r>
            <a:r>
              <a:rPr lang="ru-RU" dirty="0" smtClean="0"/>
              <a:t>Дата</a:t>
            </a:r>
            <a:endParaRPr lang="en-US" dirty="0" smtClean="0"/>
          </a:p>
        </p:txBody>
      </p:sp>
      <p:pic>
        <p:nvPicPr>
          <p:cNvPr id="23" name="Рисунок 2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0374" y="6334012"/>
            <a:ext cx="836965" cy="2746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2651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13539" y="1340772"/>
            <a:ext cx="8317706" cy="4608511"/>
          </a:xfrm>
        </p:spPr>
        <p:txBody>
          <a:bodyPr/>
          <a:lstStyle>
            <a:lvl1pPr>
              <a:defRPr/>
            </a:lvl1pPr>
            <a:lvl2pPr>
              <a:defRPr baseline="0"/>
            </a:lvl2pPr>
            <a:lvl3pPr>
              <a:defRPr/>
            </a:lvl3pPr>
            <a:lvl4pPr>
              <a:defRPr/>
            </a:lvl4pPr>
            <a:lvl5pPr marL="602754" marR="0" indent="0" algn="l" defTabSz="514350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None/>
              <a:tabLst/>
              <a:defRPr/>
            </a:lvl5pPr>
          </a:lstStyle>
          <a:p>
            <a:pPr lvl="0"/>
            <a:r>
              <a:rPr lang="ru-RU" dirty="0" smtClean="0"/>
              <a:t>Образец стиля текста</a:t>
            </a:r>
            <a:endParaRPr lang="en-US" dirty="0" smtClean="0"/>
          </a:p>
          <a:p>
            <a:pPr lvl="1"/>
            <a:r>
              <a:rPr lang="ru-RU" dirty="0" smtClean="0"/>
              <a:t>Образец стиля текста второго уровня</a:t>
            </a:r>
            <a:endParaRPr lang="en-US" dirty="0" smtClean="0"/>
          </a:p>
          <a:p>
            <a:pPr lvl="2"/>
            <a:r>
              <a:rPr lang="ru-RU" dirty="0" smtClean="0"/>
              <a:t>Образец стиля текста третьего уровня</a:t>
            </a:r>
            <a:endParaRPr lang="en-US" dirty="0" smtClean="0"/>
          </a:p>
          <a:p>
            <a:pPr lvl="3"/>
            <a:r>
              <a:rPr lang="ru-RU" dirty="0" smtClean="0"/>
              <a:t>Образец стиля текста четвёртого уровня</a:t>
            </a:r>
            <a:endParaRPr lang="en-US" dirty="0" smtClean="0"/>
          </a:p>
          <a:p>
            <a:pPr marL="757238" marR="0" lvl="4" indent="-154484" algn="l" defTabSz="514350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accent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dirty="0" smtClean="0"/>
              <a:t>Образец стиля текста пятого уровня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>
                <a:solidFill>
                  <a:srgbClr val="000000"/>
                </a:solidFill>
              </a:rPr>
              <a:t>16.11.2016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srgbClr val="000000"/>
                </a:solidFill>
              </a:rPr>
              <a:t> 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5591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 with Subheading" preserve="1" userDrawn="1">
  <p:cSld name="Title and Content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13149" y="1484316"/>
            <a:ext cx="8317706" cy="575767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013" b="1"/>
            </a:lvl1pPr>
            <a:lvl2pPr marL="257175" indent="0">
              <a:buNone/>
              <a:defRPr sz="1125" b="1"/>
            </a:lvl2pPr>
            <a:lvl3pPr marL="514350" indent="0">
              <a:buNone/>
              <a:defRPr sz="1013" b="1"/>
            </a:lvl3pPr>
            <a:lvl4pPr marL="771525" indent="0">
              <a:buNone/>
              <a:defRPr sz="900" b="1"/>
            </a:lvl4pPr>
            <a:lvl5pPr marL="1028700" indent="0">
              <a:buNone/>
              <a:defRPr sz="900" b="1"/>
            </a:lvl5pPr>
            <a:lvl6pPr marL="1285875" indent="0">
              <a:buNone/>
              <a:defRPr sz="900" b="1"/>
            </a:lvl6pPr>
            <a:lvl7pPr marL="1543050" indent="0">
              <a:buNone/>
              <a:defRPr sz="900" b="1"/>
            </a:lvl7pPr>
            <a:lvl8pPr marL="1800225" indent="0">
              <a:buNone/>
              <a:defRPr sz="900" b="1"/>
            </a:lvl8pPr>
            <a:lvl9pPr marL="2057400" indent="0">
              <a:buNone/>
              <a:defRPr sz="900" b="1"/>
            </a:lvl9pPr>
          </a:lstStyle>
          <a:p>
            <a:pPr lvl="0"/>
            <a:r>
              <a:rPr lang="ru-RU" dirty="0" smtClean="0"/>
              <a:t>Образец стиля текста</a:t>
            </a:r>
            <a:endParaRPr lang="en-US" dirty="0" smtClean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13149" y="2060849"/>
            <a:ext cx="8317706" cy="4031976"/>
          </a:xfrm>
        </p:spPr>
        <p:txBody>
          <a:bodyPr/>
          <a:lstStyle>
            <a:lvl1pPr>
              <a:defRPr baseline="0"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Образец стиля текста</a:t>
            </a:r>
            <a:endParaRPr lang="en-US" dirty="0" smtClean="0"/>
          </a:p>
          <a:p>
            <a:pPr lvl="1"/>
            <a:r>
              <a:rPr lang="ru-RU" dirty="0" smtClean="0"/>
              <a:t>Образец стиля текста второго уровня</a:t>
            </a:r>
            <a:endParaRPr lang="en-US" dirty="0" smtClean="0"/>
          </a:p>
          <a:p>
            <a:pPr lvl="2"/>
            <a:r>
              <a:rPr lang="ru-RU" dirty="0" smtClean="0"/>
              <a:t>Образец стиля текста третьего уровня</a:t>
            </a:r>
            <a:endParaRPr lang="en-US" dirty="0" smtClean="0"/>
          </a:p>
          <a:p>
            <a:pPr lvl="3"/>
            <a:r>
              <a:rPr lang="ru-RU" dirty="0" smtClean="0"/>
              <a:t>Образец стиля текста четвёртого уровня</a:t>
            </a:r>
            <a:endParaRPr lang="en-US" dirty="0" smtClean="0"/>
          </a:p>
          <a:p>
            <a:pPr lvl="4"/>
            <a:r>
              <a:rPr lang="ru-RU" dirty="0" smtClean="0"/>
              <a:t>Образец стиля текста пятого уровня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>
                <a:solidFill>
                  <a:srgbClr val="000000"/>
                </a:solidFill>
              </a:rPr>
              <a:t>16.11.2016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srgbClr val="000000"/>
                </a:solidFill>
              </a:rPr>
              <a:t> 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Заголовок слайда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60073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s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13153" y="1484313"/>
            <a:ext cx="4050841" cy="4608512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</a:lstStyle>
          <a:p>
            <a:pPr lvl="0"/>
            <a:r>
              <a:rPr lang="ru-RU" dirty="0" smtClean="0"/>
              <a:t>Образец стиля текста</a:t>
            </a:r>
            <a:endParaRPr lang="en-US" dirty="0" smtClean="0"/>
          </a:p>
          <a:p>
            <a:pPr lvl="1"/>
            <a:r>
              <a:rPr lang="ru-RU" dirty="0" smtClean="0"/>
              <a:t>Образец стиля текста второго уровня</a:t>
            </a:r>
            <a:endParaRPr lang="en-US" dirty="0" smtClean="0"/>
          </a:p>
          <a:p>
            <a:pPr lvl="2"/>
            <a:r>
              <a:rPr lang="ru-RU" dirty="0" smtClean="0"/>
              <a:t>Образец стиля текста третьего уровня</a:t>
            </a:r>
            <a:endParaRPr lang="en-US" dirty="0" smtClean="0"/>
          </a:p>
          <a:p>
            <a:pPr lvl="3"/>
            <a:r>
              <a:rPr lang="ru-RU" dirty="0" smtClean="0"/>
              <a:t>Образец стиля текста четвёртого уровня</a:t>
            </a:r>
            <a:endParaRPr lang="en-US" dirty="0" smtClean="0"/>
          </a:p>
          <a:p>
            <a:pPr lvl="4"/>
            <a:r>
              <a:rPr lang="ru-RU" dirty="0" smtClean="0"/>
              <a:t>Образец стиля текста пятого уровня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80013" y="1484313"/>
            <a:ext cx="4050842" cy="460851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 smtClean="0"/>
              <a:t>Образец стиля текста</a:t>
            </a:r>
            <a:endParaRPr lang="en-US" dirty="0" smtClean="0"/>
          </a:p>
          <a:p>
            <a:pPr lvl="1"/>
            <a:r>
              <a:rPr lang="ru-RU" dirty="0" smtClean="0"/>
              <a:t>Образец стиля текста второго уровня</a:t>
            </a:r>
            <a:endParaRPr lang="en-US" dirty="0" smtClean="0"/>
          </a:p>
          <a:p>
            <a:pPr lvl="2"/>
            <a:r>
              <a:rPr lang="ru-RU" dirty="0" smtClean="0"/>
              <a:t>Образец стиля текста третьего уровня</a:t>
            </a:r>
            <a:endParaRPr lang="en-US" dirty="0" smtClean="0"/>
          </a:p>
          <a:p>
            <a:pPr lvl="3"/>
            <a:r>
              <a:rPr lang="ru-RU" dirty="0" smtClean="0"/>
              <a:t>Образец стиля текста четвёртого уровня</a:t>
            </a:r>
            <a:endParaRPr lang="en-US" dirty="0" smtClean="0"/>
          </a:p>
          <a:p>
            <a:pPr lvl="4"/>
            <a:r>
              <a:rPr lang="ru-RU" dirty="0" smtClean="0"/>
              <a:t>Образец стиля текста пятого уровня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>
                <a:solidFill>
                  <a:srgbClr val="000000"/>
                </a:solidFill>
              </a:rPr>
              <a:t>16.11.2016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srgbClr val="000000"/>
                </a:solidFill>
              </a:rPr>
              <a:t> 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572000" y="1484313"/>
            <a:ext cx="0" cy="4608512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Заголовок слайда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47508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13149" y="1484316"/>
            <a:ext cx="4050842" cy="575767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013" b="1" baseline="0"/>
            </a:lvl1pPr>
            <a:lvl2pPr marL="257175" indent="0">
              <a:buNone/>
              <a:defRPr sz="1125" b="1"/>
            </a:lvl2pPr>
            <a:lvl3pPr marL="514350" indent="0">
              <a:buNone/>
              <a:defRPr sz="1013" b="1"/>
            </a:lvl3pPr>
            <a:lvl4pPr marL="771525" indent="0">
              <a:buNone/>
              <a:defRPr sz="900" b="1"/>
            </a:lvl4pPr>
            <a:lvl5pPr marL="1028700" indent="0">
              <a:buNone/>
              <a:defRPr sz="900" b="1"/>
            </a:lvl5pPr>
            <a:lvl6pPr marL="1285875" indent="0">
              <a:buNone/>
              <a:defRPr sz="900" b="1"/>
            </a:lvl6pPr>
            <a:lvl7pPr marL="1543050" indent="0">
              <a:buNone/>
              <a:defRPr sz="900" b="1"/>
            </a:lvl7pPr>
            <a:lvl8pPr marL="1800225" indent="0">
              <a:buNone/>
              <a:defRPr sz="900" b="1"/>
            </a:lvl8pPr>
            <a:lvl9pPr marL="2057400" indent="0">
              <a:buNone/>
              <a:defRPr sz="900" b="1"/>
            </a:lvl9pPr>
          </a:lstStyle>
          <a:p>
            <a:pPr lvl="0"/>
            <a:r>
              <a:rPr lang="ru-RU" dirty="0" smtClean="0"/>
              <a:t>Образец стиля текста</a:t>
            </a:r>
            <a:endParaRPr lang="en-US" dirty="0" smtClean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13149" y="2060849"/>
            <a:ext cx="4050842" cy="4031976"/>
          </a:xfrm>
        </p:spPr>
        <p:txBody>
          <a:bodyPr/>
          <a:lstStyle/>
          <a:p>
            <a:pPr lvl="0"/>
            <a:r>
              <a:rPr lang="ru-RU" dirty="0" smtClean="0"/>
              <a:t>Образец стиля текста</a:t>
            </a:r>
            <a:endParaRPr lang="en-US" dirty="0" smtClean="0"/>
          </a:p>
          <a:p>
            <a:pPr lvl="1"/>
            <a:r>
              <a:rPr lang="ru-RU" dirty="0" smtClean="0"/>
              <a:t>Образец стиля текста второго уровня</a:t>
            </a:r>
            <a:endParaRPr lang="en-US" dirty="0" smtClean="0"/>
          </a:p>
          <a:p>
            <a:pPr lvl="2"/>
            <a:r>
              <a:rPr lang="ru-RU" dirty="0" smtClean="0"/>
              <a:t>Образец стиля текста третьего уровня</a:t>
            </a:r>
            <a:endParaRPr lang="en-US" dirty="0" smtClean="0"/>
          </a:p>
          <a:p>
            <a:pPr lvl="3"/>
            <a:r>
              <a:rPr lang="ru-RU" dirty="0" smtClean="0"/>
              <a:t>Образец стиля текста четвёртого уровня</a:t>
            </a:r>
            <a:endParaRPr lang="en-US" dirty="0" smtClean="0"/>
          </a:p>
          <a:p>
            <a:pPr lvl="4"/>
            <a:r>
              <a:rPr lang="ru-RU" dirty="0" smtClean="0"/>
              <a:t>Образец стиля текста пятого уровня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680013" y="1484316"/>
            <a:ext cx="4050842" cy="575767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013" b="1"/>
            </a:lvl1pPr>
            <a:lvl2pPr marL="257175" indent="0">
              <a:buNone/>
              <a:defRPr sz="1125" b="1"/>
            </a:lvl2pPr>
            <a:lvl3pPr marL="514350" indent="0">
              <a:buNone/>
              <a:defRPr sz="1013" b="1"/>
            </a:lvl3pPr>
            <a:lvl4pPr marL="771525" indent="0">
              <a:buNone/>
              <a:defRPr sz="900" b="1"/>
            </a:lvl4pPr>
            <a:lvl5pPr marL="1028700" indent="0">
              <a:buNone/>
              <a:defRPr sz="900" b="1"/>
            </a:lvl5pPr>
            <a:lvl6pPr marL="1285875" indent="0">
              <a:buNone/>
              <a:defRPr sz="900" b="1"/>
            </a:lvl6pPr>
            <a:lvl7pPr marL="1543050" indent="0">
              <a:buNone/>
              <a:defRPr sz="900" b="1"/>
            </a:lvl7pPr>
            <a:lvl8pPr marL="1800225" indent="0">
              <a:buNone/>
              <a:defRPr sz="900" b="1"/>
            </a:lvl8pPr>
            <a:lvl9pPr marL="2057400" indent="0">
              <a:buNone/>
              <a:defRPr sz="900" b="1"/>
            </a:lvl9pPr>
          </a:lstStyle>
          <a:p>
            <a:pPr lvl="0"/>
            <a:r>
              <a:rPr lang="ru-RU" dirty="0" smtClean="0"/>
              <a:t>Образец стиля текста</a:t>
            </a:r>
            <a:endParaRPr lang="en-US" dirty="0" smtClean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4680013" y="2060852"/>
            <a:ext cx="4050842" cy="4031977"/>
          </a:xfrm>
        </p:spPr>
        <p:txBody>
          <a:bodyPr/>
          <a:lstStyle/>
          <a:p>
            <a:pPr lvl="0"/>
            <a:r>
              <a:rPr lang="ru-RU" dirty="0" smtClean="0"/>
              <a:t>Образец стиля текста</a:t>
            </a:r>
            <a:endParaRPr lang="en-US" dirty="0" smtClean="0"/>
          </a:p>
          <a:p>
            <a:pPr lvl="1"/>
            <a:r>
              <a:rPr lang="ru-RU" dirty="0" smtClean="0"/>
              <a:t>Образец стиля текста второго уровня</a:t>
            </a:r>
            <a:endParaRPr lang="en-US" dirty="0" smtClean="0"/>
          </a:p>
          <a:p>
            <a:pPr lvl="2"/>
            <a:r>
              <a:rPr lang="ru-RU" dirty="0" smtClean="0"/>
              <a:t>Образец стиля текста третьего уровня</a:t>
            </a:r>
            <a:endParaRPr lang="en-US" dirty="0" smtClean="0"/>
          </a:p>
          <a:p>
            <a:pPr lvl="3"/>
            <a:r>
              <a:rPr lang="ru-RU" dirty="0" smtClean="0"/>
              <a:t>Образец стиля текста четвёртого уровня</a:t>
            </a:r>
            <a:endParaRPr lang="en-US" dirty="0" smtClean="0"/>
          </a:p>
          <a:p>
            <a:pPr lvl="4"/>
            <a:r>
              <a:rPr lang="ru-RU" dirty="0" smtClean="0"/>
              <a:t>Образец стиля текста пятого уровня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>
                <a:solidFill>
                  <a:srgbClr val="000000"/>
                </a:solidFill>
              </a:rPr>
              <a:t>16.11.2016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srgbClr val="000000"/>
                </a:solidFill>
              </a:rPr>
              <a:t> 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572000" y="1484313"/>
            <a:ext cx="0" cy="4608512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Заголовок слайда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2503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13151" y="1484316"/>
            <a:ext cx="2646685" cy="575767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013" b="1"/>
            </a:lvl1pPr>
            <a:lvl2pPr marL="257175" indent="0">
              <a:buNone/>
              <a:defRPr sz="1125" b="1"/>
            </a:lvl2pPr>
            <a:lvl3pPr marL="514350" indent="0">
              <a:buNone/>
              <a:defRPr sz="1013" b="1"/>
            </a:lvl3pPr>
            <a:lvl4pPr marL="771525" indent="0">
              <a:buNone/>
              <a:defRPr sz="900" b="1"/>
            </a:lvl4pPr>
            <a:lvl5pPr marL="1028700" indent="0">
              <a:buNone/>
              <a:defRPr sz="900" b="1"/>
            </a:lvl5pPr>
            <a:lvl6pPr marL="1285875" indent="0">
              <a:buNone/>
              <a:defRPr sz="900" b="1"/>
            </a:lvl6pPr>
            <a:lvl7pPr marL="1543050" indent="0">
              <a:buNone/>
              <a:defRPr sz="900" b="1"/>
            </a:lvl7pPr>
            <a:lvl8pPr marL="1800225" indent="0">
              <a:buNone/>
              <a:defRPr sz="900" b="1"/>
            </a:lvl8pPr>
            <a:lvl9pPr marL="2057400" indent="0">
              <a:buNone/>
              <a:defRPr sz="900" b="1"/>
            </a:lvl9pPr>
          </a:lstStyle>
          <a:p>
            <a:pPr lvl="0"/>
            <a:r>
              <a:rPr lang="ru-RU" dirty="0" smtClean="0"/>
              <a:t>Образец стиля текста</a:t>
            </a:r>
            <a:endParaRPr lang="en-US" dirty="0" smtClean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13151" y="2060578"/>
            <a:ext cx="2646685" cy="4032249"/>
          </a:xfrm>
        </p:spPr>
        <p:txBody>
          <a:bodyPr/>
          <a:lstStyle/>
          <a:p>
            <a:pPr lvl="0"/>
            <a:r>
              <a:rPr lang="ru-RU" dirty="0" smtClean="0"/>
              <a:t>Образец стиля текста</a:t>
            </a:r>
            <a:endParaRPr lang="en-US" dirty="0" smtClean="0"/>
          </a:p>
          <a:p>
            <a:pPr lvl="1"/>
            <a:r>
              <a:rPr lang="ru-RU" dirty="0" smtClean="0"/>
              <a:t>Образец стиля текста второго уровня</a:t>
            </a:r>
            <a:endParaRPr lang="en-US" dirty="0" smtClean="0"/>
          </a:p>
          <a:p>
            <a:pPr lvl="2"/>
            <a:r>
              <a:rPr lang="ru-RU" dirty="0" smtClean="0"/>
              <a:t>Образец стиля текста третьего уровня</a:t>
            </a:r>
            <a:endParaRPr lang="en-US" dirty="0" smtClean="0"/>
          </a:p>
          <a:p>
            <a:pPr lvl="3"/>
            <a:r>
              <a:rPr lang="ru-RU" dirty="0" smtClean="0"/>
              <a:t>Образец стиля текста четвёртого уровня</a:t>
            </a:r>
            <a:endParaRPr lang="en-US" dirty="0" smtClean="0"/>
          </a:p>
          <a:p>
            <a:pPr lvl="4"/>
            <a:r>
              <a:rPr lang="ru-RU" dirty="0" smtClean="0"/>
              <a:t>Образец стиля текста пятого уровня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084169" y="1484316"/>
            <a:ext cx="2646686" cy="575767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013" b="1"/>
            </a:lvl1pPr>
            <a:lvl2pPr marL="257175" indent="0">
              <a:buNone/>
              <a:defRPr sz="1125" b="1"/>
            </a:lvl2pPr>
            <a:lvl3pPr marL="514350" indent="0">
              <a:buNone/>
              <a:defRPr sz="1013" b="1"/>
            </a:lvl3pPr>
            <a:lvl4pPr marL="771525" indent="0">
              <a:buNone/>
              <a:defRPr sz="900" b="1"/>
            </a:lvl4pPr>
            <a:lvl5pPr marL="1028700" indent="0">
              <a:buNone/>
              <a:defRPr sz="900" b="1"/>
            </a:lvl5pPr>
            <a:lvl6pPr marL="1285875" indent="0">
              <a:buNone/>
              <a:defRPr sz="900" b="1"/>
            </a:lvl6pPr>
            <a:lvl7pPr marL="1543050" indent="0">
              <a:buNone/>
              <a:defRPr sz="900" b="1"/>
            </a:lvl7pPr>
            <a:lvl8pPr marL="1800225" indent="0">
              <a:buNone/>
              <a:defRPr sz="900" b="1"/>
            </a:lvl8pPr>
            <a:lvl9pPr marL="2057400" indent="0">
              <a:buNone/>
              <a:defRPr sz="900" b="1"/>
            </a:lvl9pPr>
          </a:lstStyle>
          <a:p>
            <a:pPr lvl="0"/>
            <a:r>
              <a:rPr lang="ru-RU" dirty="0" smtClean="0"/>
              <a:t>Образец стиля текста</a:t>
            </a:r>
            <a:endParaRPr lang="en-US" dirty="0" smtClean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6084169" y="2060578"/>
            <a:ext cx="2646686" cy="4032249"/>
          </a:xfrm>
        </p:spPr>
        <p:txBody>
          <a:bodyPr/>
          <a:lstStyle/>
          <a:p>
            <a:pPr lvl="0"/>
            <a:r>
              <a:rPr lang="ru-RU" dirty="0" smtClean="0"/>
              <a:t>Образец стиля текста</a:t>
            </a:r>
            <a:endParaRPr lang="en-US" dirty="0" smtClean="0"/>
          </a:p>
          <a:p>
            <a:pPr lvl="1"/>
            <a:r>
              <a:rPr lang="ru-RU" dirty="0" smtClean="0"/>
              <a:t>Образец стиля текста второго уровня</a:t>
            </a:r>
            <a:endParaRPr lang="en-US" dirty="0" smtClean="0"/>
          </a:p>
          <a:p>
            <a:pPr lvl="2"/>
            <a:r>
              <a:rPr lang="ru-RU" dirty="0" smtClean="0"/>
              <a:t>Образец стиля текста третьего уровня</a:t>
            </a:r>
            <a:endParaRPr lang="en-US" dirty="0" smtClean="0"/>
          </a:p>
          <a:p>
            <a:pPr lvl="3"/>
            <a:r>
              <a:rPr lang="ru-RU" dirty="0" smtClean="0"/>
              <a:t>Образец стиля текста четвёртого уровня</a:t>
            </a:r>
            <a:endParaRPr lang="en-US" dirty="0" smtClean="0"/>
          </a:p>
          <a:p>
            <a:pPr lvl="4"/>
            <a:r>
              <a:rPr lang="ru-RU" dirty="0" smtClean="0"/>
              <a:t>Образец стиля текста пятого уровня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>
                <a:solidFill>
                  <a:srgbClr val="000000"/>
                </a:solidFill>
              </a:rPr>
              <a:t>16.11.2016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srgbClr val="000000"/>
                </a:solidFill>
              </a:rPr>
              <a:t> 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5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3275856" y="1484316"/>
            <a:ext cx="2592288" cy="575767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013" b="1"/>
            </a:lvl1pPr>
            <a:lvl2pPr marL="257175" indent="0">
              <a:buNone/>
              <a:defRPr sz="1125" b="1"/>
            </a:lvl2pPr>
            <a:lvl3pPr marL="514350" indent="0">
              <a:buNone/>
              <a:defRPr sz="1013" b="1"/>
            </a:lvl3pPr>
            <a:lvl4pPr marL="771525" indent="0">
              <a:buNone/>
              <a:defRPr sz="900" b="1"/>
            </a:lvl4pPr>
            <a:lvl5pPr marL="1028700" indent="0">
              <a:buNone/>
              <a:defRPr sz="900" b="1"/>
            </a:lvl5pPr>
            <a:lvl6pPr marL="1285875" indent="0">
              <a:buNone/>
              <a:defRPr sz="900" b="1"/>
            </a:lvl6pPr>
            <a:lvl7pPr marL="1543050" indent="0">
              <a:buNone/>
              <a:defRPr sz="900" b="1"/>
            </a:lvl7pPr>
            <a:lvl8pPr marL="1800225" indent="0">
              <a:buNone/>
              <a:defRPr sz="900" b="1"/>
            </a:lvl8pPr>
            <a:lvl9pPr marL="2057400" indent="0">
              <a:buNone/>
              <a:defRPr sz="900" b="1"/>
            </a:lvl9pPr>
          </a:lstStyle>
          <a:p>
            <a:pPr lvl="0"/>
            <a:r>
              <a:rPr lang="ru-RU" dirty="0" smtClean="0"/>
              <a:t>Образец стиля текста</a:t>
            </a:r>
            <a:endParaRPr lang="en-US" dirty="0" smtClean="0"/>
          </a:p>
        </p:txBody>
      </p:sp>
      <p:sp>
        <p:nvSpPr>
          <p:cNvPr id="16" name="Content Placeholder 3"/>
          <p:cNvSpPr>
            <a:spLocks noGrp="1"/>
          </p:cNvSpPr>
          <p:nvPr>
            <p:ph sz="half" idx="14" hasCustomPrompt="1"/>
          </p:nvPr>
        </p:nvSpPr>
        <p:spPr>
          <a:xfrm>
            <a:off x="3275856" y="2060578"/>
            <a:ext cx="2592288" cy="4032249"/>
          </a:xfrm>
        </p:spPr>
        <p:txBody>
          <a:bodyPr/>
          <a:lstStyle/>
          <a:p>
            <a:pPr lvl="0"/>
            <a:r>
              <a:rPr lang="ru-RU" dirty="0" smtClean="0"/>
              <a:t>Образец стиля текста</a:t>
            </a:r>
            <a:endParaRPr lang="en-US" dirty="0" smtClean="0"/>
          </a:p>
          <a:p>
            <a:pPr lvl="1"/>
            <a:r>
              <a:rPr lang="ru-RU" dirty="0" smtClean="0"/>
              <a:t>Образец стиля текста второго уровня</a:t>
            </a:r>
            <a:endParaRPr lang="en-US" dirty="0" smtClean="0"/>
          </a:p>
          <a:p>
            <a:pPr lvl="2"/>
            <a:r>
              <a:rPr lang="ru-RU" dirty="0" smtClean="0"/>
              <a:t>Образец стиля текста третьего уровня</a:t>
            </a:r>
            <a:endParaRPr lang="en-US" dirty="0" smtClean="0"/>
          </a:p>
          <a:p>
            <a:pPr lvl="3"/>
            <a:r>
              <a:rPr lang="ru-RU" dirty="0" smtClean="0"/>
              <a:t>Образец стиля текста четвёртого уровня</a:t>
            </a:r>
            <a:endParaRPr lang="en-US" dirty="0" smtClean="0"/>
          </a:p>
          <a:p>
            <a:pPr lvl="4"/>
            <a:r>
              <a:rPr lang="ru-RU" dirty="0" smtClean="0"/>
              <a:t>Образец стиля текста пятого уровня</a:t>
            </a:r>
            <a:endParaRPr lang="en-US" dirty="0"/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3167844" y="1484313"/>
            <a:ext cx="0" cy="4608512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>
            <a:off x="5976156" y="1484313"/>
            <a:ext cx="0" cy="4608512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Заголовок слайда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41855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Picture 1/2" preserve="1" userDrawn="1">
  <p:cSld name="Title and Picture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13153" y="1484313"/>
            <a:ext cx="4050841" cy="4608512"/>
          </a:xfrm>
        </p:spPr>
        <p:txBody>
          <a:bodyPr/>
          <a:lstStyle/>
          <a:p>
            <a:pPr lvl="0"/>
            <a:r>
              <a:rPr lang="ru-RU" dirty="0" smtClean="0"/>
              <a:t>Образец стиля текста</a:t>
            </a:r>
            <a:endParaRPr lang="en-US" dirty="0" smtClean="0"/>
          </a:p>
          <a:p>
            <a:pPr lvl="1"/>
            <a:r>
              <a:rPr lang="ru-RU" dirty="0" smtClean="0"/>
              <a:t>Образец стиля текста второго уровня</a:t>
            </a:r>
            <a:endParaRPr lang="en-US" dirty="0" smtClean="0"/>
          </a:p>
          <a:p>
            <a:pPr lvl="2"/>
            <a:r>
              <a:rPr lang="ru-RU" dirty="0" smtClean="0"/>
              <a:t>Образец стиля текста третьего уровня</a:t>
            </a:r>
            <a:endParaRPr lang="en-US" dirty="0" smtClean="0"/>
          </a:p>
          <a:p>
            <a:pPr lvl="3"/>
            <a:r>
              <a:rPr lang="ru-RU" dirty="0" smtClean="0"/>
              <a:t>Образец стиля текста четвёртого уровня</a:t>
            </a:r>
            <a:endParaRPr lang="en-US" dirty="0" smtClean="0"/>
          </a:p>
          <a:p>
            <a:pPr lvl="4"/>
            <a:r>
              <a:rPr lang="ru-RU" dirty="0" smtClean="0"/>
              <a:t>Образец стиля текста пятого уровня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>
                <a:solidFill>
                  <a:srgbClr val="000000"/>
                </a:solidFill>
              </a:rPr>
              <a:t>16.11.2016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srgbClr val="000000"/>
                </a:solidFill>
              </a:rPr>
              <a:t> 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680014" y="11"/>
            <a:ext cx="4463988" cy="6092825"/>
          </a:xfrm>
          <a:solidFill>
            <a:srgbClr val="EAEAEA"/>
          </a:solidFill>
        </p:spPr>
        <p:txBody>
          <a:bodyPr/>
          <a:lstStyle>
            <a:lvl1pPr marL="0" indent="0">
              <a:buFontTx/>
              <a:buNone/>
              <a:defRPr sz="1013" baseline="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Вставка рисунка</a:t>
            </a:r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413153" y="476250"/>
            <a:ext cx="4050841" cy="720502"/>
          </a:xfrm>
        </p:spPr>
        <p:txBody>
          <a:bodyPr/>
          <a:lstStyle/>
          <a:p>
            <a:r>
              <a:rPr lang="ru-RU" dirty="0" smtClean="0"/>
              <a:t>Заголовок слайда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164775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13149" y="476250"/>
            <a:ext cx="8317706" cy="7205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ru-RU" dirty="0" smtClean="0"/>
              <a:t>Образец заголовка слайд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3149" y="1484319"/>
            <a:ext cx="8317706" cy="460851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ru-RU" dirty="0" smtClean="0"/>
              <a:t>Образец стиля текста</a:t>
            </a:r>
            <a:endParaRPr lang="en-US" dirty="0" smtClean="0"/>
          </a:p>
          <a:p>
            <a:pPr lvl="1"/>
            <a:r>
              <a:rPr lang="ru-RU" dirty="0" smtClean="0"/>
              <a:t>Образец текста второго уровня</a:t>
            </a:r>
            <a:endParaRPr lang="en-US" dirty="0" smtClean="0"/>
          </a:p>
          <a:p>
            <a:pPr lvl="2"/>
            <a:r>
              <a:rPr lang="ru-RU" dirty="0" smtClean="0"/>
              <a:t>Образец текста третьего уровня</a:t>
            </a:r>
            <a:endParaRPr lang="en-US" dirty="0" smtClean="0"/>
          </a:p>
          <a:p>
            <a:pPr lvl="3"/>
            <a:r>
              <a:rPr lang="ru-RU" dirty="0" smtClean="0"/>
              <a:t>Образец текста четвёртого уровня</a:t>
            </a:r>
            <a:endParaRPr lang="en-US" dirty="0" smtClean="0"/>
          </a:p>
          <a:p>
            <a:pPr lvl="4"/>
            <a:r>
              <a:rPr lang="ru-RU" dirty="0" smtClean="0"/>
              <a:t>Образец текста пятого уровня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9455" y="6345238"/>
            <a:ext cx="1080287" cy="252412"/>
          </a:xfrm>
          <a:prstGeom prst="rect">
            <a:avLst/>
          </a:prstGeom>
        </p:spPr>
        <p:txBody>
          <a:bodyPr vert="horz" lIns="72000" tIns="0" rIns="72000" bIns="0" rtlCol="0" anchor="ctr" anchorCtr="0">
            <a:noAutofit/>
          </a:bodyPr>
          <a:lstStyle>
            <a:lvl1pPr algn="l">
              <a:defRPr sz="506" b="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000000"/>
                </a:solidFill>
                <a:cs typeface="Arial" charset="0"/>
              </a:rPr>
              <a:t>16.11.2016</a:t>
            </a: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709742" y="6345238"/>
            <a:ext cx="5616179" cy="252412"/>
          </a:xfrm>
          <a:prstGeom prst="rect">
            <a:avLst/>
          </a:prstGeom>
        </p:spPr>
        <p:txBody>
          <a:bodyPr vert="horz" lIns="72000" tIns="0" rIns="72000" bIns="0" rtlCol="0" anchor="ctr" anchorCtr="0">
            <a:noAutofit/>
          </a:bodyPr>
          <a:lstStyle>
            <a:lvl1pPr algn="l">
              <a:defRPr sz="506" b="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000000"/>
                </a:solidFill>
                <a:cs typeface="Arial" charset="0"/>
              </a:rPr>
              <a:t> </a:t>
            </a:r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13152" y="6345247"/>
            <a:ext cx="216305" cy="252089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noAutofit/>
          </a:bodyPr>
          <a:lstStyle>
            <a:lvl1pPr algn="l">
              <a:defRPr sz="506" b="0">
                <a:solidFill>
                  <a:schemeClr val="tx1"/>
                </a:solidFill>
              </a:defRPr>
            </a:lvl1pPr>
          </a:lstStyle>
          <a:p>
            <a:fld id="{F90E5A77-D385-4CDE-8FE8-D3E3CBE93E71}" type="slidenum">
              <a:rPr lang="en-US" smtClean="0">
                <a:solidFill>
                  <a:srgbClr val="000000"/>
                </a:solidFill>
                <a:cs typeface="Arial" charset="0"/>
              </a:rPr>
              <a:pPr/>
              <a:t>‹#›</a:t>
            </a:fld>
            <a:endParaRPr lang="en-US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8" name="(c)" hidden="1"/>
          <p:cNvSpPr txBox="1"/>
          <p:nvPr userDrawn="1"/>
        </p:nvSpPr>
        <p:spPr>
          <a:xfrm>
            <a:off x="9020347" y="6885485"/>
            <a:ext cx="118622" cy="173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fi-FI" sz="113" dirty="0">
                <a:solidFill>
                  <a:prstClr val="white"/>
                </a:solidFill>
                <a:cs typeface="Arial" charset="0"/>
              </a:rPr>
              <a:t>©grow. for fortum</a:t>
            </a:r>
            <a:endParaRPr lang="en-GB" sz="113" dirty="0" err="1">
              <a:solidFill>
                <a:prstClr val="white"/>
              </a:solidFill>
              <a:cs typeface="Arial" charset="0"/>
            </a:endParaRPr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0372" y="6342724"/>
            <a:ext cx="810000" cy="2658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21079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 dt="0"/>
  <p:txStyles>
    <p:titleStyle>
      <a:lvl1pPr algn="l" defTabSz="514350" rtl="0" eaLnBrk="1" latinLnBrk="0" hangingPunct="1">
        <a:lnSpc>
          <a:spcPct val="85000"/>
        </a:lnSpc>
        <a:spcBef>
          <a:spcPct val="0"/>
        </a:spcBef>
        <a:buNone/>
        <a:defRPr sz="1575" b="1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150019" indent="-150019" algn="l" defTabSz="514350" rtl="0" eaLnBrk="1" latinLnBrk="0" hangingPunct="1">
        <a:lnSpc>
          <a:spcPct val="100000"/>
        </a:lnSpc>
        <a:spcBef>
          <a:spcPts val="450"/>
        </a:spcBef>
        <a:buClr>
          <a:schemeClr val="accent2"/>
        </a:buClr>
        <a:buFont typeface="Arial" panose="020B0604020202020204" pitchFamily="34" charset="0"/>
        <a:buChar char="•"/>
        <a:defRPr sz="1125" kern="1200">
          <a:solidFill>
            <a:srgbClr val="000000"/>
          </a:solidFill>
          <a:latin typeface="+mn-lt"/>
          <a:ea typeface="+mn-ea"/>
          <a:cs typeface="+mn-cs"/>
        </a:defRPr>
      </a:lvl1pPr>
      <a:lvl2pPr marL="303610" indent="-153591" algn="l" defTabSz="514350" rtl="0" eaLnBrk="1" latinLnBrk="0" hangingPunct="1">
        <a:lnSpc>
          <a:spcPct val="100000"/>
        </a:lnSpc>
        <a:spcBef>
          <a:spcPts val="450"/>
        </a:spcBef>
        <a:buClr>
          <a:schemeClr val="accent2"/>
        </a:buClr>
        <a:buFont typeface="Arial" panose="020B0604020202020204" pitchFamily="34" charset="0"/>
        <a:buChar char="–"/>
        <a:defRPr sz="1013" kern="1200" baseline="0">
          <a:solidFill>
            <a:srgbClr val="000000"/>
          </a:solidFill>
          <a:latin typeface="+mn-lt"/>
          <a:ea typeface="+mn-ea"/>
          <a:cs typeface="+mn-cs"/>
        </a:defRPr>
      </a:lvl2pPr>
      <a:lvl3pPr marL="453629" indent="-150019" algn="l" defTabSz="514350" rtl="0" eaLnBrk="1" latinLnBrk="0" hangingPunct="1">
        <a:lnSpc>
          <a:spcPct val="100000"/>
        </a:lnSpc>
        <a:spcBef>
          <a:spcPts val="450"/>
        </a:spcBef>
        <a:buClr>
          <a:schemeClr val="accent2"/>
        </a:buClr>
        <a:buFont typeface="Arial" panose="020B0604020202020204" pitchFamily="34" charset="0"/>
        <a:buChar char="•"/>
        <a:defRPr sz="900" kern="1200">
          <a:solidFill>
            <a:srgbClr val="000000"/>
          </a:solidFill>
          <a:latin typeface="+mn-lt"/>
          <a:ea typeface="+mn-ea"/>
          <a:cs typeface="+mn-cs"/>
        </a:defRPr>
      </a:lvl3pPr>
      <a:lvl4pPr marL="602754" indent="-149126" algn="l" defTabSz="514350" rtl="0" eaLnBrk="1" latinLnBrk="0" hangingPunct="1">
        <a:lnSpc>
          <a:spcPct val="100000"/>
        </a:lnSpc>
        <a:spcBef>
          <a:spcPts val="450"/>
        </a:spcBef>
        <a:buClr>
          <a:schemeClr val="accent2"/>
        </a:buClr>
        <a:buFont typeface="Arial" panose="020B0604020202020204" pitchFamily="34" charset="0"/>
        <a:buChar char="–"/>
        <a:defRPr sz="788" kern="1200">
          <a:solidFill>
            <a:srgbClr val="000000"/>
          </a:solidFill>
          <a:latin typeface="+mn-lt"/>
          <a:ea typeface="+mn-ea"/>
          <a:cs typeface="+mn-cs"/>
        </a:defRPr>
      </a:lvl4pPr>
      <a:lvl5pPr marL="757238" indent="-154484" algn="l" defTabSz="514350" rtl="0" eaLnBrk="1" latinLnBrk="0" hangingPunct="1">
        <a:lnSpc>
          <a:spcPct val="100000"/>
        </a:lnSpc>
        <a:spcBef>
          <a:spcPts val="450"/>
        </a:spcBef>
        <a:buClr>
          <a:schemeClr val="accent2"/>
        </a:buClr>
        <a:buFont typeface="Arial" panose="020B0604020202020204" pitchFamily="34" charset="0"/>
        <a:buChar char="•"/>
        <a:defRPr sz="788" kern="1200" baseline="0">
          <a:solidFill>
            <a:srgbClr val="000000"/>
          </a:solidFill>
          <a:latin typeface="+mn-lt"/>
          <a:ea typeface="+mn-ea"/>
          <a:cs typeface="+mn-cs"/>
        </a:defRPr>
      </a:lvl5pPr>
      <a:lvl6pPr marL="907256" indent="-150019" algn="l" defTabSz="514350" rtl="0" eaLnBrk="1" latinLnBrk="0" hangingPunct="1">
        <a:lnSpc>
          <a:spcPct val="100000"/>
        </a:lnSpc>
        <a:spcBef>
          <a:spcPts val="450"/>
        </a:spcBef>
        <a:buClr>
          <a:schemeClr val="accent2"/>
        </a:buClr>
        <a:buFont typeface="Arial" panose="020B0604020202020204" pitchFamily="34" charset="0"/>
        <a:buChar char="–"/>
        <a:defRPr sz="675" kern="1200">
          <a:solidFill>
            <a:srgbClr val="000000"/>
          </a:solidFill>
          <a:latin typeface="+mn-lt"/>
          <a:ea typeface="+mn-ea"/>
          <a:cs typeface="+mn-cs"/>
        </a:defRPr>
      </a:lvl6pPr>
      <a:lvl7pPr marL="1056383" indent="-149126" algn="l" defTabSz="514350" rtl="0" eaLnBrk="1" latinLnBrk="0" hangingPunct="1">
        <a:lnSpc>
          <a:spcPct val="100000"/>
        </a:lnSpc>
        <a:spcBef>
          <a:spcPts val="450"/>
        </a:spcBef>
        <a:buClr>
          <a:schemeClr val="accent2"/>
        </a:buClr>
        <a:buFont typeface="Arial" panose="020B0604020202020204" pitchFamily="34" charset="0"/>
        <a:buChar char="•"/>
        <a:defRPr sz="675" kern="1200">
          <a:solidFill>
            <a:srgbClr val="000000"/>
          </a:solidFill>
          <a:latin typeface="+mn-lt"/>
          <a:ea typeface="+mn-ea"/>
          <a:cs typeface="+mn-cs"/>
        </a:defRPr>
      </a:lvl7pPr>
      <a:lvl8pPr marL="1210866" indent="-154484" algn="l" defTabSz="514350" rtl="0" eaLnBrk="1" latinLnBrk="0" hangingPunct="1">
        <a:lnSpc>
          <a:spcPct val="100000"/>
        </a:lnSpc>
        <a:spcBef>
          <a:spcPts val="450"/>
        </a:spcBef>
        <a:buClr>
          <a:schemeClr val="accent2"/>
        </a:buClr>
        <a:buFont typeface="Arial" panose="020B0604020202020204" pitchFamily="34" charset="0"/>
        <a:buChar char="–"/>
        <a:defRPr sz="675" kern="1200">
          <a:solidFill>
            <a:srgbClr val="000000"/>
          </a:solidFill>
          <a:latin typeface="+mn-lt"/>
          <a:ea typeface="+mn-ea"/>
          <a:cs typeface="+mn-cs"/>
        </a:defRPr>
      </a:lvl8pPr>
      <a:lvl9pPr marL="1360885" indent="-150019" algn="l" defTabSz="514350" rtl="0" eaLnBrk="1" latinLnBrk="0" hangingPunct="1">
        <a:lnSpc>
          <a:spcPct val="100000"/>
        </a:lnSpc>
        <a:spcBef>
          <a:spcPts val="450"/>
        </a:spcBef>
        <a:buClr>
          <a:schemeClr val="accent2"/>
        </a:buClr>
        <a:buFont typeface="Arial" panose="020B0604020202020204" pitchFamily="34" charset="0"/>
        <a:buChar char="•"/>
        <a:defRPr sz="675" kern="1200">
          <a:solidFill>
            <a:srgbClr val="000000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Объект 5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152" y="468509"/>
            <a:ext cx="8461907" cy="6359131"/>
          </a:xfrm>
          <a:noFill/>
          <a:ln>
            <a:solidFill>
              <a:schemeClr val="accent1">
                <a:lumMod val="60000"/>
                <a:lumOff val="40000"/>
              </a:schemeClr>
            </a:solidFill>
          </a:ln>
        </p:spPr>
      </p:pic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srgbClr val="000000"/>
                </a:solidFill>
              </a:rPr>
              <a:t> 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0E5A77-D385-4CDE-8FE8-D3E3CBE93E71}" type="slidenum">
              <a:rPr lang="en-US" smtClean="0">
                <a:solidFill>
                  <a:srgbClr val="000000"/>
                </a:solidFill>
              </a:rPr>
              <a:pPr/>
              <a:t>1</a:t>
            </a:fld>
            <a:endParaRPr lang="en-US">
              <a:solidFill>
                <a:srgbClr val="000000"/>
              </a:solidFill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20499" y="2034501"/>
            <a:ext cx="664522" cy="591363"/>
          </a:xfrm>
          <a:prstGeom prst="rect">
            <a:avLst/>
          </a:prstGeom>
        </p:spPr>
      </p:pic>
      <p:grpSp>
        <p:nvGrpSpPr>
          <p:cNvPr id="42" name="Группа 41"/>
          <p:cNvGrpSpPr/>
          <p:nvPr/>
        </p:nvGrpSpPr>
        <p:grpSpPr>
          <a:xfrm>
            <a:off x="1356102" y="875654"/>
            <a:ext cx="6464398" cy="3886846"/>
            <a:chOff x="1356102" y="875654"/>
            <a:chExt cx="6464398" cy="3886846"/>
          </a:xfrm>
        </p:grpSpPr>
        <p:cxnSp>
          <p:nvCxnSpPr>
            <p:cNvPr id="11" name="Прямая соединительная линия 10"/>
            <p:cNvCxnSpPr/>
            <p:nvPr/>
          </p:nvCxnSpPr>
          <p:spPr>
            <a:xfrm flipH="1" flipV="1">
              <a:off x="5540188" y="2266790"/>
              <a:ext cx="2280312" cy="304403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20" name="Прямая соединительная линия 19"/>
            <p:cNvCxnSpPr/>
            <p:nvPr/>
          </p:nvCxnSpPr>
          <p:spPr>
            <a:xfrm flipH="1" flipV="1">
              <a:off x="5471032" y="2034187"/>
              <a:ext cx="69156" cy="240287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22" name="Прямая соединительная линия 21"/>
            <p:cNvCxnSpPr/>
            <p:nvPr/>
          </p:nvCxnSpPr>
          <p:spPr>
            <a:xfrm flipH="1" flipV="1">
              <a:off x="5409560" y="1390810"/>
              <a:ext cx="61472" cy="643377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3" name="Прямая соединительная линия 2"/>
            <p:cNvCxnSpPr/>
            <p:nvPr/>
          </p:nvCxnSpPr>
          <p:spPr>
            <a:xfrm flipH="1" flipV="1">
              <a:off x="4517831" y="1278650"/>
              <a:ext cx="891729" cy="11216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0" name="Прямая соединительная линия 9"/>
            <p:cNvCxnSpPr/>
            <p:nvPr/>
          </p:nvCxnSpPr>
          <p:spPr>
            <a:xfrm flipH="1" flipV="1">
              <a:off x="3990814" y="1278336"/>
              <a:ext cx="527017" cy="314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4" name="Прямая соединительная линия 13"/>
            <p:cNvCxnSpPr/>
            <p:nvPr/>
          </p:nvCxnSpPr>
          <p:spPr>
            <a:xfrm flipH="1" flipV="1">
              <a:off x="3897824" y="875654"/>
              <a:ext cx="92990" cy="402682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6" name="Прямая соединительная линия 15"/>
            <p:cNvCxnSpPr/>
            <p:nvPr/>
          </p:nvCxnSpPr>
          <p:spPr>
            <a:xfrm flipH="1">
              <a:off x="3533614" y="875654"/>
              <a:ext cx="36421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8" name="Прямая соединительная линия 17"/>
            <p:cNvCxnSpPr/>
            <p:nvPr/>
          </p:nvCxnSpPr>
          <p:spPr>
            <a:xfrm>
              <a:off x="3533614" y="875654"/>
              <a:ext cx="0" cy="459076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21" name="Прямая соединительная линия 20"/>
            <p:cNvCxnSpPr/>
            <p:nvPr/>
          </p:nvCxnSpPr>
          <p:spPr>
            <a:xfrm flipH="1">
              <a:off x="1356102" y="1334730"/>
              <a:ext cx="2177512" cy="153107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24" name="Прямая соединительная линия 23"/>
            <p:cNvCxnSpPr/>
            <p:nvPr/>
          </p:nvCxnSpPr>
          <p:spPr>
            <a:xfrm>
              <a:off x="1356102" y="1487837"/>
              <a:ext cx="0" cy="312388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26" name="Прямая соединительная линия 25"/>
            <p:cNvCxnSpPr/>
            <p:nvPr/>
          </p:nvCxnSpPr>
          <p:spPr>
            <a:xfrm flipV="1">
              <a:off x="1356102" y="1762125"/>
              <a:ext cx="782261" cy="381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29" name="Прямая соединительная линия 28"/>
            <p:cNvCxnSpPr/>
            <p:nvPr/>
          </p:nvCxnSpPr>
          <p:spPr>
            <a:xfrm>
              <a:off x="2138363" y="1762125"/>
              <a:ext cx="228600" cy="94297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32" name="Прямая соединительная линия 31"/>
            <p:cNvCxnSpPr/>
            <p:nvPr/>
          </p:nvCxnSpPr>
          <p:spPr>
            <a:xfrm flipH="1">
              <a:off x="2319338" y="2705100"/>
              <a:ext cx="47625" cy="1852613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34" name="Прямая соединительная линия 33"/>
            <p:cNvCxnSpPr/>
            <p:nvPr/>
          </p:nvCxnSpPr>
          <p:spPr>
            <a:xfrm>
              <a:off x="2319338" y="4557713"/>
              <a:ext cx="819150" cy="204787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36" name="Прямая соединительная линия 35"/>
            <p:cNvCxnSpPr/>
            <p:nvPr/>
          </p:nvCxnSpPr>
          <p:spPr>
            <a:xfrm flipV="1">
              <a:off x="3138488" y="2533650"/>
              <a:ext cx="759336" cy="222885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38" name="Прямая соединительная линия 37"/>
            <p:cNvCxnSpPr/>
            <p:nvPr/>
          </p:nvCxnSpPr>
          <p:spPr>
            <a:xfrm flipV="1">
              <a:off x="3897824" y="2506763"/>
              <a:ext cx="1726689" cy="26888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41" name="Прямая соединительная линия 40"/>
            <p:cNvCxnSpPr/>
            <p:nvPr/>
          </p:nvCxnSpPr>
          <p:spPr>
            <a:xfrm>
              <a:off x="5624513" y="2506763"/>
              <a:ext cx="2195986" cy="6443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44" name="Прямоугольник 43"/>
          <p:cNvSpPr/>
          <p:nvPr/>
        </p:nvSpPr>
        <p:spPr>
          <a:xfrm>
            <a:off x="1333500" y="876300"/>
            <a:ext cx="6370320" cy="3886200"/>
          </a:xfrm>
          <a:custGeom>
            <a:avLst/>
            <a:gdLst>
              <a:gd name="connsiteX0" fmla="*/ 0 w 6591300"/>
              <a:gd name="connsiteY0" fmla="*/ 0 h 4099560"/>
              <a:gd name="connsiteX1" fmla="*/ 6591300 w 6591300"/>
              <a:gd name="connsiteY1" fmla="*/ 0 h 4099560"/>
              <a:gd name="connsiteX2" fmla="*/ 6591300 w 6591300"/>
              <a:gd name="connsiteY2" fmla="*/ 4099560 h 4099560"/>
              <a:gd name="connsiteX3" fmla="*/ 0 w 6591300"/>
              <a:gd name="connsiteY3" fmla="*/ 4099560 h 4099560"/>
              <a:gd name="connsiteX4" fmla="*/ 0 w 6591300"/>
              <a:gd name="connsiteY4" fmla="*/ 0 h 4099560"/>
              <a:gd name="connsiteX0" fmla="*/ 60960 w 6591300"/>
              <a:gd name="connsiteY0" fmla="*/ 830580 h 4099560"/>
              <a:gd name="connsiteX1" fmla="*/ 6591300 w 6591300"/>
              <a:gd name="connsiteY1" fmla="*/ 0 h 4099560"/>
              <a:gd name="connsiteX2" fmla="*/ 6591300 w 6591300"/>
              <a:gd name="connsiteY2" fmla="*/ 4099560 h 4099560"/>
              <a:gd name="connsiteX3" fmla="*/ 0 w 6591300"/>
              <a:gd name="connsiteY3" fmla="*/ 4099560 h 4099560"/>
              <a:gd name="connsiteX4" fmla="*/ 60960 w 6591300"/>
              <a:gd name="connsiteY4" fmla="*/ 830580 h 4099560"/>
              <a:gd name="connsiteX0" fmla="*/ 60960 w 6591300"/>
              <a:gd name="connsiteY0" fmla="*/ 830580 h 4099560"/>
              <a:gd name="connsiteX1" fmla="*/ 449580 w 6591300"/>
              <a:gd name="connsiteY1" fmla="*/ 777240 h 4099560"/>
              <a:gd name="connsiteX2" fmla="*/ 6591300 w 6591300"/>
              <a:gd name="connsiteY2" fmla="*/ 0 h 4099560"/>
              <a:gd name="connsiteX3" fmla="*/ 6591300 w 6591300"/>
              <a:gd name="connsiteY3" fmla="*/ 4099560 h 4099560"/>
              <a:gd name="connsiteX4" fmla="*/ 0 w 6591300"/>
              <a:gd name="connsiteY4" fmla="*/ 4099560 h 4099560"/>
              <a:gd name="connsiteX5" fmla="*/ 60960 w 6591300"/>
              <a:gd name="connsiteY5" fmla="*/ 830580 h 4099560"/>
              <a:gd name="connsiteX0" fmla="*/ 60960 w 6591300"/>
              <a:gd name="connsiteY0" fmla="*/ 830580 h 4099560"/>
              <a:gd name="connsiteX1" fmla="*/ 2240280 w 6591300"/>
              <a:gd name="connsiteY1" fmla="*/ 693420 h 4099560"/>
              <a:gd name="connsiteX2" fmla="*/ 6591300 w 6591300"/>
              <a:gd name="connsiteY2" fmla="*/ 0 h 4099560"/>
              <a:gd name="connsiteX3" fmla="*/ 6591300 w 6591300"/>
              <a:gd name="connsiteY3" fmla="*/ 4099560 h 4099560"/>
              <a:gd name="connsiteX4" fmla="*/ 0 w 6591300"/>
              <a:gd name="connsiteY4" fmla="*/ 4099560 h 4099560"/>
              <a:gd name="connsiteX5" fmla="*/ 60960 w 6591300"/>
              <a:gd name="connsiteY5" fmla="*/ 830580 h 4099560"/>
              <a:gd name="connsiteX0" fmla="*/ 60960 w 6591300"/>
              <a:gd name="connsiteY0" fmla="*/ 830580 h 4099560"/>
              <a:gd name="connsiteX1" fmla="*/ 2240280 w 6591300"/>
              <a:gd name="connsiteY1" fmla="*/ 693420 h 4099560"/>
              <a:gd name="connsiteX2" fmla="*/ 2613660 w 6591300"/>
              <a:gd name="connsiteY2" fmla="*/ 617220 h 4099560"/>
              <a:gd name="connsiteX3" fmla="*/ 6591300 w 6591300"/>
              <a:gd name="connsiteY3" fmla="*/ 0 h 4099560"/>
              <a:gd name="connsiteX4" fmla="*/ 6591300 w 6591300"/>
              <a:gd name="connsiteY4" fmla="*/ 4099560 h 4099560"/>
              <a:gd name="connsiteX5" fmla="*/ 0 w 6591300"/>
              <a:gd name="connsiteY5" fmla="*/ 4099560 h 4099560"/>
              <a:gd name="connsiteX6" fmla="*/ 60960 w 6591300"/>
              <a:gd name="connsiteY6" fmla="*/ 830580 h 4099560"/>
              <a:gd name="connsiteX0" fmla="*/ 60960 w 6591300"/>
              <a:gd name="connsiteY0" fmla="*/ 830580 h 4099560"/>
              <a:gd name="connsiteX1" fmla="*/ 2240280 w 6591300"/>
              <a:gd name="connsiteY1" fmla="*/ 693420 h 4099560"/>
              <a:gd name="connsiteX2" fmla="*/ 2613660 w 6591300"/>
              <a:gd name="connsiteY2" fmla="*/ 617220 h 4099560"/>
              <a:gd name="connsiteX3" fmla="*/ 6591300 w 6591300"/>
              <a:gd name="connsiteY3" fmla="*/ 0 h 4099560"/>
              <a:gd name="connsiteX4" fmla="*/ 6591300 w 6591300"/>
              <a:gd name="connsiteY4" fmla="*/ 4099560 h 4099560"/>
              <a:gd name="connsiteX5" fmla="*/ 0 w 6591300"/>
              <a:gd name="connsiteY5" fmla="*/ 4099560 h 4099560"/>
              <a:gd name="connsiteX6" fmla="*/ 60960 w 6591300"/>
              <a:gd name="connsiteY6" fmla="*/ 830580 h 4099560"/>
              <a:gd name="connsiteX0" fmla="*/ 60960 w 6591300"/>
              <a:gd name="connsiteY0" fmla="*/ 830580 h 4099560"/>
              <a:gd name="connsiteX1" fmla="*/ 2240280 w 6591300"/>
              <a:gd name="connsiteY1" fmla="*/ 693420 h 4099560"/>
              <a:gd name="connsiteX2" fmla="*/ 2293620 w 6591300"/>
              <a:gd name="connsiteY2" fmla="*/ 213360 h 4099560"/>
              <a:gd name="connsiteX3" fmla="*/ 6591300 w 6591300"/>
              <a:gd name="connsiteY3" fmla="*/ 0 h 4099560"/>
              <a:gd name="connsiteX4" fmla="*/ 6591300 w 6591300"/>
              <a:gd name="connsiteY4" fmla="*/ 4099560 h 4099560"/>
              <a:gd name="connsiteX5" fmla="*/ 0 w 6591300"/>
              <a:gd name="connsiteY5" fmla="*/ 4099560 h 4099560"/>
              <a:gd name="connsiteX6" fmla="*/ 60960 w 6591300"/>
              <a:gd name="connsiteY6" fmla="*/ 830580 h 4099560"/>
              <a:gd name="connsiteX0" fmla="*/ 60960 w 6591300"/>
              <a:gd name="connsiteY0" fmla="*/ 830580 h 4099560"/>
              <a:gd name="connsiteX1" fmla="*/ 2179320 w 6591300"/>
              <a:gd name="connsiteY1" fmla="*/ 701040 h 4099560"/>
              <a:gd name="connsiteX2" fmla="*/ 2293620 w 6591300"/>
              <a:gd name="connsiteY2" fmla="*/ 213360 h 4099560"/>
              <a:gd name="connsiteX3" fmla="*/ 6591300 w 6591300"/>
              <a:gd name="connsiteY3" fmla="*/ 0 h 4099560"/>
              <a:gd name="connsiteX4" fmla="*/ 6591300 w 6591300"/>
              <a:gd name="connsiteY4" fmla="*/ 4099560 h 4099560"/>
              <a:gd name="connsiteX5" fmla="*/ 0 w 6591300"/>
              <a:gd name="connsiteY5" fmla="*/ 4099560 h 4099560"/>
              <a:gd name="connsiteX6" fmla="*/ 60960 w 6591300"/>
              <a:gd name="connsiteY6" fmla="*/ 830580 h 4099560"/>
              <a:gd name="connsiteX0" fmla="*/ 60960 w 6591300"/>
              <a:gd name="connsiteY0" fmla="*/ 830580 h 4099560"/>
              <a:gd name="connsiteX1" fmla="*/ 2179320 w 6591300"/>
              <a:gd name="connsiteY1" fmla="*/ 701040 h 4099560"/>
              <a:gd name="connsiteX2" fmla="*/ 2293620 w 6591300"/>
              <a:gd name="connsiteY2" fmla="*/ 213360 h 4099560"/>
              <a:gd name="connsiteX3" fmla="*/ 2819400 w 6591300"/>
              <a:gd name="connsiteY3" fmla="*/ 190500 h 4099560"/>
              <a:gd name="connsiteX4" fmla="*/ 6591300 w 6591300"/>
              <a:gd name="connsiteY4" fmla="*/ 0 h 4099560"/>
              <a:gd name="connsiteX5" fmla="*/ 6591300 w 6591300"/>
              <a:gd name="connsiteY5" fmla="*/ 4099560 h 4099560"/>
              <a:gd name="connsiteX6" fmla="*/ 0 w 6591300"/>
              <a:gd name="connsiteY6" fmla="*/ 4099560 h 4099560"/>
              <a:gd name="connsiteX7" fmla="*/ 60960 w 6591300"/>
              <a:gd name="connsiteY7" fmla="*/ 830580 h 4099560"/>
              <a:gd name="connsiteX0" fmla="*/ 60960 w 6591300"/>
              <a:gd name="connsiteY0" fmla="*/ 830580 h 4099560"/>
              <a:gd name="connsiteX1" fmla="*/ 2179320 w 6591300"/>
              <a:gd name="connsiteY1" fmla="*/ 701040 h 4099560"/>
              <a:gd name="connsiteX2" fmla="*/ 2293620 w 6591300"/>
              <a:gd name="connsiteY2" fmla="*/ 213360 h 4099560"/>
              <a:gd name="connsiteX3" fmla="*/ 2606040 w 6591300"/>
              <a:gd name="connsiteY3" fmla="*/ 220980 h 4099560"/>
              <a:gd name="connsiteX4" fmla="*/ 6591300 w 6591300"/>
              <a:gd name="connsiteY4" fmla="*/ 0 h 4099560"/>
              <a:gd name="connsiteX5" fmla="*/ 6591300 w 6591300"/>
              <a:gd name="connsiteY5" fmla="*/ 4099560 h 4099560"/>
              <a:gd name="connsiteX6" fmla="*/ 0 w 6591300"/>
              <a:gd name="connsiteY6" fmla="*/ 4099560 h 4099560"/>
              <a:gd name="connsiteX7" fmla="*/ 60960 w 6591300"/>
              <a:gd name="connsiteY7" fmla="*/ 830580 h 4099560"/>
              <a:gd name="connsiteX0" fmla="*/ 60960 w 6591300"/>
              <a:gd name="connsiteY0" fmla="*/ 830580 h 4099560"/>
              <a:gd name="connsiteX1" fmla="*/ 2179320 w 6591300"/>
              <a:gd name="connsiteY1" fmla="*/ 701040 h 4099560"/>
              <a:gd name="connsiteX2" fmla="*/ 2293620 w 6591300"/>
              <a:gd name="connsiteY2" fmla="*/ 213360 h 4099560"/>
              <a:gd name="connsiteX3" fmla="*/ 2606040 w 6591300"/>
              <a:gd name="connsiteY3" fmla="*/ 220980 h 4099560"/>
              <a:gd name="connsiteX4" fmla="*/ 2903220 w 6591300"/>
              <a:gd name="connsiteY4" fmla="*/ 190500 h 4099560"/>
              <a:gd name="connsiteX5" fmla="*/ 6591300 w 6591300"/>
              <a:gd name="connsiteY5" fmla="*/ 0 h 4099560"/>
              <a:gd name="connsiteX6" fmla="*/ 6591300 w 6591300"/>
              <a:gd name="connsiteY6" fmla="*/ 4099560 h 4099560"/>
              <a:gd name="connsiteX7" fmla="*/ 0 w 6591300"/>
              <a:gd name="connsiteY7" fmla="*/ 4099560 h 4099560"/>
              <a:gd name="connsiteX8" fmla="*/ 60960 w 6591300"/>
              <a:gd name="connsiteY8" fmla="*/ 830580 h 4099560"/>
              <a:gd name="connsiteX0" fmla="*/ 60960 w 6591300"/>
              <a:gd name="connsiteY0" fmla="*/ 830580 h 4099560"/>
              <a:gd name="connsiteX1" fmla="*/ 2179320 w 6591300"/>
              <a:gd name="connsiteY1" fmla="*/ 701040 h 4099560"/>
              <a:gd name="connsiteX2" fmla="*/ 2293620 w 6591300"/>
              <a:gd name="connsiteY2" fmla="*/ 213360 h 4099560"/>
              <a:gd name="connsiteX3" fmla="*/ 2606040 w 6591300"/>
              <a:gd name="connsiteY3" fmla="*/ 220980 h 4099560"/>
              <a:gd name="connsiteX4" fmla="*/ 2720340 w 6591300"/>
              <a:gd name="connsiteY4" fmla="*/ 632460 h 4099560"/>
              <a:gd name="connsiteX5" fmla="*/ 6591300 w 6591300"/>
              <a:gd name="connsiteY5" fmla="*/ 0 h 4099560"/>
              <a:gd name="connsiteX6" fmla="*/ 6591300 w 6591300"/>
              <a:gd name="connsiteY6" fmla="*/ 4099560 h 4099560"/>
              <a:gd name="connsiteX7" fmla="*/ 0 w 6591300"/>
              <a:gd name="connsiteY7" fmla="*/ 4099560 h 4099560"/>
              <a:gd name="connsiteX8" fmla="*/ 60960 w 6591300"/>
              <a:gd name="connsiteY8" fmla="*/ 830580 h 4099560"/>
              <a:gd name="connsiteX0" fmla="*/ 60960 w 6591300"/>
              <a:gd name="connsiteY0" fmla="*/ 830580 h 4099560"/>
              <a:gd name="connsiteX1" fmla="*/ 2179320 w 6591300"/>
              <a:gd name="connsiteY1" fmla="*/ 701040 h 4099560"/>
              <a:gd name="connsiteX2" fmla="*/ 2293620 w 6591300"/>
              <a:gd name="connsiteY2" fmla="*/ 213360 h 4099560"/>
              <a:gd name="connsiteX3" fmla="*/ 2606040 w 6591300"/>
              <a:gd name="connsiteY3" fmla="*/ 220980 h 4099560"/>
              <a:gd name="connsiteX4" fmla="*/ 2720340 w 6591300"/>
              <a:gd name="connsiteY4" fmla="*/ 632460 h 4099560"/>
              <a:gd name="connsiteX5" fmla="*/ 6591300 w 6591300"/>
              <a:gd name="connsiteY5" fmla="*/ 0 h 4099560"/>
              <a:gd name="connsiteX6" fmla="*/ 6591300 w 6591300"/>
              <a:gd name="connsiteY6" fmla="*/ 4099560 h 4099560"/>
              <a:gd name="connsiteX7" fmla="*/ 0 w 6591300"/>
              <a:gd name="connsiteY7" fmla="*/ 4099560 h 4099560"/>
              <a:gd name="connsiteX8" fmla="*/ 60960 w 6591300"/>
              <a:gd name="connsiteY8" fmla="*/ 830580 h 4099560"/>
              <a:gd name="connsiteX0" fmla="*/ 60960 w 6591300"/>
              <a:gd name="connsiteY0" fmla="*/ 617220 h 3886200"/>
              <a:gd name="connsiteX1" fmla="*/ 2179320 w 6591300"/>
              <a:gd name="connsiteY1" fmla="*/ 487680 h 3886200"/>
              <a:gd name="connsiteX2" fmla="*/ 2293620 w 6591300"/>
              <a:gd name="connsiteY2" fmla="*/ 0 h 3886200"/>
              <a:gd name="connsiteX3" fmla="*/ 2606040 w 6591300"/>
              <a:gd name="connsiteY3" fmla="*/ 7620 h 3886200"/>
              <a:gd name="connsiteX4" fmla="*/ 2720340 w 6591300"/>
              <a:gd name="connsiteY4" fmla="*/ 419100 h 3886200"/>
              <a:gd name="connsiteX5" fmla="*/ 4107180 w 6591300"/>
              <a:gd name="connsiteY5" fmla="*/ 518160 h 3886200"/>
              <a:gd name="connsiteX6" fmla="*/ 6591300 w 6591300"/>
              <a:gd name="connsiteY6" fmla="*/ 3886200 h 3886200"/>
              <a:gd name="connsiteX7" fmla="*/ 0 w 6591300"/>
              <a:gd name="connsiteY7" fmla="*/ 3886200 h 3886200"/>
              <a:gd name="connsiteX8" fmla="*/ 60960 w 6591300"/>
              <a:gd name="connsiteY8" fmla="*/ 617220 h 3886200"/>
              <a:gd name="connsiteX0" fmla="*/ 60960 w 6591300"/>
              <a:gd name="connsiteY0" fmla="*/ 617220 h 3886200"/>
              <a:gd name="connsiteX1" fmla="*/ 2179320 w 6591300"/>
              <a:gd name="connsiteY1" fmla="*/ 487680 h 3886200"/>
              <a:gd name="connsiteX2" fmla="*/ 2293620 w 6591300"/>
              <a:gd name="connsiteY2" fmla="*/ 0 h 3886200"/>
              <a:gd name="connsiteX3" fmla="*/ 2606040 w 6591300"/>
              <a:gd name="connsiteY3" fmla="*/ 7620 h 3886200"/>
              <a:gd name="connsiteX4" fmla="*/ 2720340 w 6591300"/>
              <a:gd name="connsiteY4" fmla="*/ 419100 h 3886200"/>
              <a:gd name="connsiteX5" fmla="*/ 3055620 w 6591300"/>
              <a:gd name="connsiteY5" fmla="*/ 426720 h 3886200"/>
              <a:gd name="connsiteX6" fmla="*/ 4107180 w 6591300"/>
              <a:gd name="connsiteY6" fmla="*/ 518160 h 3886200"/>
              <a:gd name="connsiteX7" fmla="*/ 6591300 w 6591300"/>
              <a:gd name="connsiteY7" fmla="*/ 3886200 h 3886200"/>
              <a:gd name="connsiteX8" fmla="*/ 0 w 6591300"/>
              <a:gd name="connsiteY8" fmla="*/ 3886200 h 3886200"/>
              <a:gd name="connsiteX9" fmla="*/ 60960 w 6591300"/>
              <a:gd name="connsiteY9" fmla="*/ 617220 h 3886200"/>
              <a:gd name="connsiteX0" fmla="*/ 60960 w 6591300"/>
              <a:gd name="connsiteY0" fmla="*/ 617220 h 3886200"/>
              <a:gd name="connsiteX1" fmla="*/ 2179320 w 6591300"/>
              <a:gd name="connsiteY1" fmla="*/ 487680 h 3886200"/>
              <a:gd name="connsiteX2" fmla="*/ 2293620 w 6591300"/>
              <a:gd name="connsiteY2" fmla="*/ 0 h 3886200"/>
              <a:gd name="connsiteX3" fmla="*/ 2606040 w 6591300"/>
              <a:gd name="connsiteY3" fmla="*/ 7620 h 3886200"/>
              <a:gd name="connsiteX4" fmla="*/ 2720340 w 6591300"/>
              <a:gd name="connsiteY4" fmla="*/ 419100 h 3886200"/>
              <a:gd name="connsiteX5" fmla="*/ 3055620 w 6591300"/>
              <a:gd name="connsiteY5" fmla="*/ 426720 h 3886200"/>
              <a:gd name="connsiteX6" fmla="*/ 3649980 w 6591300"/>
              <a:gd name="connsiteY6" fmla="*/ 464820 h 3886200"/>
              <a:gd name="connsiteX7" fmla="*/ 4107180 w 6591300"/>
              <a:gd name="connsiteY7" fmla="*/ 518160 h 3886200"/>
              <a:gd name="connsiteX8" fmla="*/ 6591300 w 6591300"/>
              <a:gd name="connsiteY8" fmla="*/ 3886200 h 3886200"/>
              <a:gd name="connsiteX9" fmla="*/ 0 w 6591300"/>
              <a:gd name="connsiteY9" fmla="*/ 3886200 h 3886200"/>
              <a:gd name="connsiteX10" fmla="*/ 60960 w 6591300"/>
              <a:gd name="connsiteY10" fmla="*/ 617220 h 3886200"/>
              <a:gd name="connsiteX0" fmla="*/ 60960 w 6591300"/>
              <a:gd name="connsiteY0" fmla="*/ 617220 h 3886200"/>
              <a:gd name="connsiteX1" fmla="*/ 2179320 w 6591300"/>
              <a:gd name="connsiteY1" fmla="*/ 487680 h 3886200"/>
              <a:gd name="connsiteX2" fmla="*/ 2293620 w 6591300"/>
              <a:gd name="connsiteY2" fmla="*/ 0 h 3886200"/>
              <a:gd name="connsiteX3" fmla="*/ 2606040 w 6591300"/>
              <a:gd name="connsiteY3" fmla="*/ 7620 h 3886200"/>
              <a:gd name="connsiteX4" fmla="*/ 2720340 w 6591300"/>
              <a:gd name="connsiteY4" fmla="*/ 419100 h 3886200"/>
              <a:gd name="connsiteX5" fmla="*/ 3055620 w 6591300"/>
              <a:gd name="connsiteY5" fmla="*/ 426720 h 3886200"/>
              <a:gd name="connsiteX6" fmla="*/ 3649980 w 6591300"/>
              <a:gd name="connsiteY6" fmla="*/ 464820 h 3886200"/>
              <a:gd name="connsiteX7" fmla="*/ 3855720 w 6591300"/>
              <a:gd name="connsiteY7" fmla="*/ 502920 h 3886200"/>
              <a:gd name="connsiteX8" fmla="*/ 4107180 w 6591300"/>
              <a:gd name="connsiteY8" fmla="*/ 518160 h 3886200"/>
              <a:gd name="connsiteX9" fmla="*/ 6591300 w 6591300"/>
              <a:gd name="connsiteY9" fmla="*/ 3886200 h 3886200"/>
              <a:gd name="connsiteX10" fmla="*/ 0 w 6591300"/>
              <a:gd name="connsiteY10" fmla="*/ 3886200 h 3886200"/>
              <a:gd name="connsiteX11" fmla="*/ 60960 w 6591300"/>
              <a:gd name="connsiteY11" fmla="*/ 617220 h 3886200"/>
              <a:gd name="connsiteX0" fmla="*/ 60960 w 6591300"/>
              <a:gd name="connsiteY0" fmla="*/ 617220 h 3886200"/>
              <a:gd name="connsiteX1" fmla="*/ 2179320 w 6591300"/>
              <a:gd name="connsiteY1" fmla="*/ 487680 h 3886200"/>
              <a:gd name="connsiteX2" fmla="*/ 2293620 w 6591300"/>
              <a:gd name="connsiteY2" fmla="*/ 0 h 3886200"/>
              <a:gd name="connsiteX3" fmla="*/ 2606040 w 6591300"/>
              <a:gd name="connsiteY3" fmla="*/ 7620 h 3886200"/>
              <a:gd name="connsiteX4" fmla="*/ 2621280 w 6591300"/>
              <a:gd name="connsiteY4" fmla="*/ 381000 h 3886200"/>
              <a:gd name="connsiteX5" fmla="*/ 3055620 w 6591300"/>
              <a:gd name="connsiteY5" fmla="*/ 426720 h 3886200"/>
              <a:gd name="connsiteX6" fmla="*/ 3649980 w 6591300"/>
              <a:gd name="connsiteY6" fmla="*/ 464820 h 3886200"/>
              <a:gd name="connsiteX7" fmla="*/ 3855720 w 6591300"/>
              <a:gd name="connsiteY7" fmla="*/ 502920 h 3886200"/>
              <a:gd name="connsiteX8" fmla="*/ 4107180 w 6591300"/>
              <a:gd name="connsiteY8" fmla="*/ 518160 h 3886200"/>
              <a:gd name="connsiteX9" fmla="*/ 6591300 w 6591300"/>
              <a:gd name="connsiteY9" fmla="*/ 3886200 h 3886200"/>
              <a:gd name="connsiteX10" fmla="*/ 0 w 6591300"/>
              <a:gd name="connsiteY10" fmla="*/ 3886200 h 3886200"/>
              <a:gd name="connsiteX11" fmla="*/ 60960 w 6591300"/>
              <a:gd name="connsiteY11" fmla="*/ 617220 h 3886200"/>
              <a:gd name="connsiteX0" fmla="*/ 60960 w 6591300"/>
              <a:gd name="connsiteY0" fmla="*/ 617220 h 3886200"/>
              <a:gd name="connsiteX1" fmla="*/ 2179320 w 6591300"/>
              <a:gd name="connsiteY1" fmla="*/ 487680 h 3886200"/>
              <a:gd name="connsiteX2" fmla="*/ 2293620 w 6591300"/>
              <a:gd name="connsiteY2" fmla="*/ 0 h 3886200"/>
              <a:gd name="connsiteX3" fmla="*/ 2606040 w 6591300"/>
              <a:gd name="connsiteY3" fmla="*/ 7620 h 3886200"/>
              <a:gd name="connsiteX4" fmla="*/ 2621280 w 6591300"/>
              <a:gd name="connsiteY4" fmla="*/ 381000 h 3886200"/>
              <a:gd name="connsiteX5" fmla="*/ 3055620 w 6591300"/>
              <a:gd name="connsiteY5" fmla="*/ 426720 h 3886200"/>
              <a:gd name="connsiteX6" fmla="*/ 3649980 w 6591300"/>
              <a:gd name="connsiteY6" fmla="*/ 464820 h 3886200"/>
              <a:gd name="connsiteX7" fmla="*/ 3855720 w 6591300"/>
              <a:gd name="connsiteY7" fmla="*/ 502920 h 3886200"/>
              <a:gd name="connsiteX8" fmla="*/ 4107180 w 6591300"/>
              <a:gd name="connsiteY8" fmla="*/ 518160 h 3886200"/>
              <a:gd name="connsiteX9" fmla="*/ 6591300 w 6591300"/>
              <a:gd name="connsiteY9" fmla="*/ 3886200 h 3886200"/>
              <a:gd name="connsiteX10" fmla="*/ 0 w 6591300"/>
              <a:gd name="connsiteY10" fmla="*/ 3886200 h 3886200"/>
              <a:gd name="connsiteX11" fmla="*/ 60960 w 6591300"/>
              <a:gd name="connsiteY11" fmla="*/ 617220 h 3886200"/>
              <a:gd name="connsiteX0" fmla="*/ 60960 w 6591300"/>
              <a:gd name="connsiteY0" fmla="*/ 617220 h 3886200"/>
              <a:gd name="connsiteX1" fmla="*/ 2179320 w 6591300"/>
              <a:gd name="connsiteY1" fmla="*/ 487680 h 3886200"/>
              <a:gd name="connsiteX2" fmla="*/ 2293620 w 6591300"/>
              <a:gd name="connsiteY2" fmla="*/ 0 h 3886200"/>
              <a:gd name="connsiteX3" fmla="*/ 2606040 w 6591300"/>
              <a:gd name="connsiteY3" fmla="*/ 7620 h 3886200"/>
              <a:gd name="connsiteX4" fmla="*/ 2689860 w 6591300"/>
              <a:gd name="connsiteY4" fmla="*/ 396240 h 3886200"/>
              <a:gd name="connsiteX5" fmla="*/ 3055620 w 6591300"/>
              <a:gd name="connsiteY5" fmla="*/ 426720 h 3886200"/>
              <a:gd name="connsiteX6" fmla="*/ 3649980 w 6591300"/>
              <a:gd name="connsiteY6" fmla="*/ 464820 h 3886200"/>
              <a:gd name="connsiteX7" fmla="*/ 3855720 w 6591300"/>
              <a:gd name="connsiteY7" fmla="*/ 502920 h 3886200"/>
              <a:gd name="connsiteX8" fmla="*/ 4107180 w 6591300"/>
              <a:gd name="connsiteY8" fmla="*/ 518160 h 3886200"/>
              <a:gd name="connsiteX9" fmla="*/ 6591300 w 6591300"/>
              <a:gd name="connsiteY9" fmla="*/ 3886200 h 3886200"/>
              <a:gd name="connsiteX10" fmla="*/ 0 w 6591300"/>
              <a:gd name="connsiteY10" fmla="*/ 3886200 h 3886200"/>
              <a:gd name="connsiteX11" fmla="*/ 60960 w 6591300"/>
              <a:gd name="connsiteY11" fmla="*/ 617220 h 3886200"/>
              <a:gd name="connsiteX0" fmla="*/ 60960 w 6591300"/>
              <a:gd name="connsiteY0" fmla="*/ 617220 h 3886200"/>
              <a:gd name="connsiteX1" fmla="*/ 2179320 w 6591300"/>
              <a:gd name="connsiteY1" fmla="*/ 487680 h 3886200"/>
              <a:gd name="connsiteX2" fmla="*/ 2293620 w 6591300"/>
              <a:gd name="connsiteY2" fmla="*/ 0 h 3886200"/>
              <a:gd name="connsiteX3" fmla="*/ 2606040 w 6591300"/>
              <a:gd name="connsiteY3" fmla="*/ 7620 h 3886200"/>
              <a:gd name="connsiteX4" fmla="*/ 2689860 w 6591300"/>
              <a:gd name="connsiteY4" fmla="*/ 396240 h 3886200"/>
              <a:gd name="connsiteX5" fmla="*/ 3055620 w 6591300"/>
              <a:gd name="connsiteY5" fmla="*/ 426720 h 3886200"/>
              <a:gd name="connsiteX6" fmla="*/ 3649980 w 6591300"/>
              <a:gd name="connsiteY6" fmla="*/ 464820 h 3886200"/>
              <a:gd name="connsiteX7" fmla="*/ 3855720 w 6591300"/>
              <a:gd name="connsiteY7" fmla="*/ 502920 h 3886200"/>
              <a:gd name="connsiteX8" fmla="*/ 4107180 w 6591300"/>
              <a:gd name="connsiteY8" fmla="*/ 518160 h 3886200"/>
              <a:gd name="connsiteX9" fmla="*/ 6591300 w 6591300"/>
              <a:gd name="connsiteY9" fmla="*/ 3886200 h 3886200"/>
              <a:gd name="connsiteX10" fmla="*/ 0 w 6591300"/>
              <a:gd name="connsiteY10" fmla="*/ 3886200 h 3886200"/>
              <a:gd name="connsiteX11" fmla="*/ 60960 w 6591300"/>
              <a:gd name="connsiteY11" fmla="*/ 617220 h 3886200"/>
              <a:gd name="connsiteX0" fmla="*/ 60960 w 6591300"/>
              <a:gd name="connsiteY0" fmla="*/ 617220 h 3886200"/>
              <a:gd name="connsiteX1" fmla="*/ 2179320 w 6591300"/>
              <a:gd name="connsiteY1" fmla="*/ 487680 h 3886200"/>
              <a:gd name="connsiteX2" fmla="*/ 2293620 w 6591300"/>
              <a:gd name="connsiteY2" fmla="*/ 0 h 3886200"/>
              <a:gd name="connsiteX3" fmla="*/ 2606040 w 6591300"/>
              <a:gd name="connsiteY3" fmla="*/ 7620 h 3886200"/>
              <a:gd name="connsiteX4" fmla="*/ 2689860 w 6591300"/>
              <a:gd name="connsiteY4" fmla="*/ 396240 h 3886200"/>
              <a:gd name="connsiteX5" fmla="*/ 3055620 w 6591300"/>
              <a:gd name="connsiteY5" fmla="*/ 426720 h 3886200"/>
              <a:gd name="connsiteX6" fmla="*/ 3649980 w 6591300"/>
              <a:gd name="connsiteY6" fmla="*/ 464820 h 3886200"/>
              <a:gd name="connsiteX7" fmla="*/ 3855720 w 6591300"/>
              <a:gd name="connsiteY7" fmla="*/ 502920 h 3886200"/>
              <a:gd name="connsiteX8" fmla="*/ 4107180 w 6591300"/>
              <a:gd name="connsiteY8" fmla="*/ 518160 h 3886200"/>
              <a:gd name="connsiteX9" fmla="*/ 6591300 w 6591300"/>
              <a:gd name="connsiteY9" fmla="*/ 3886200 h 3886200"/>
              <a:gd name="connsiteX10" fmla="*/ 0 w 6591300"/>
              <a:gd name="connsiteY10" fmla="*/ 3886200 h 3886200"/>
              <a:gd name="connsiteX11" fmla="*/ 60960 w 6591300"/>
              <a:gd name="connsiteY11" fmla="*/ 617220 h 3886200"/>
              <a:gd name="connsiteX0" fmla="*/ 60960 w 6591300"/>
              <a:gd name="connsiteY0" fmla="*/ 617220 h 3886200"/>
              <a:gd name="connsiteX1" fmla="*/ 2179320 w 6591300"/>
              <a:gd name="connsiteY1" fmla="*/ 487680 h 3886200"/>
              <a:gd name="connsiteX2" fmla="*/ 2293620 w 6591300"/>
              <a:gd name="connsiteY2" fmla="*/ 0 h 3886200"/>
              <a:gd name="connsiteX3" fmla="*/ 2606040 w 6591300"/>
              <a:gd name="connsiteY3" fmla="*/ 7620 h 3886200"/>
              <a:gd name="connsiteX4" fmla="*/ 2689860 w 6591300"/>
              <a:gd name="connsiteY4" fmla="*/ 396240 h 3886200"/>
              <a:gd name="connsiteX5" fmla="*/ 3055620 w 6591300"/>
              <a:gd name="connsiteY5" fmla="*/ 426720 h 3886200"/>
              <a:gd name="connsiteX6" fmla="*/ 3649980 w 6591300"/>
              <a:gd name="connsiteY6" fmla="*/ 464820 h 3886200"/>
              <a:gd name="connsiteX7" fmla="*/ 3855720 w 6591300"/>
              <a:gd name="connsiteY7" fmla="*/ 502920 h 3886200"/>
              <a:gd name="connsiteX8" fmla="*/ 3931920 w 6591300"/>
              <a:gd name="connsiteY8" fmla="*/ 457200 h 3886200"/>
              <a:gd name="connsiteX9" fmla="*/ 4107180 w 6591300"/>
              <a:gd name="connsiteY9" fmla="*/ 518160 h 3886200"/>
              <a:gd name="connsiteX10" fmla="*/ 6591300 w 6591300"/>
              <a:gd name="connsiteY10" fmla="*/ 3886200 h 3886200"/>
              <a:gd name="connsiteX11" fmla="*/ 0 w 6591300"/>
              <a:gd name="connsiteY11" fmla="*/ 3886200 h 3886200"/>
              <a:gd name="connsiteX12" fmla="*/ 60960 w 6591300"/>
              <a:gd name="connsiteY12" fmla="*/ 617220 h 3886200"/>
              <a:gd name="connsiteX0" fmla="*/ 60960 w 6591300"/>
              <a:gd name="connsiteY0" fmla="*/ 617220 h 3886200"/>
              <a:gd name="connsiteX1" fmla="*/ 2179320 w 6591300"/>
              <a:gd name="connsiteY1" fmla="*/ 487680 h 3886200"/>
              <a:gd name="connsiteX2" fmla="*/ 2293620 w 6591300"/>
              <a:gd name="connsiteY2" fmla="*/ 0 h 3886200"/>
              <a:gd name="connsiteX3" fmla="*/ 2606040 w 6591300"/>
              <a:gd name="connsiteY3" fmla="*/ 7620 h 3886200"/>
              <a:gd name="connsiteX4" fmla="*/ 2689860 w 6591300"/>
              <a:gd name="connsiteY4" fmla="*/ 396240 h 3886200"/>
              <a:gd name="connsiteX5" fmla="*/ 3055620 w 6591300"/>
              <a:gd name="connsiteY5" fmla="*/ 426720 h 3886200"/>
              <a:gd name="connsiteX6" fmla="*/ 3649980 w 6591300"/>
              <a:gd name="connsiteY6" fmla="*/ 464820 h 3886200"/>
              <a:gd name="connsiteX7" fmla="*/ 3855720 w 6591300"/>
              <a:gd name="connsiteY7" fmla="*/ 502920 h 3886200"/>
              <a:gd name="connsiteX8" fmla="*/ 3931920 w 6591300"/>
              <a:gd name="connsiteY8" fmla="*/ 457200 h 3886200"/>
              <a:gd name="connsiteX9" fmla="*/ 4251960 w 6591300"/>
              <a:gd name="connsiteY9" fmla="*/ 1432560 h 3886200"/>
              <a:gd name="connsiteX10" fmla="*/ 6591300 w 6591300"/>
              <a:gd name="connsiteY10" fmla="*/ 3886200 h 3886200"/>
              <a:gd name="connsiteX11" fmla="*/ 0 w 6591300"/>
              <a:gd name="connsiteY11" fmla="*/ 3886200 h 3886200"/>
              <a:gd name="connsiteX12" fmla="*/ 60960 w 6591300"/>
              <a:gd name="connsiteY12" fmla="*/ 617220 h 3886200"/>
              <a:gd name="connsiteX0" fmla="*/ 60960 w 6591300"/>
              <a:gd name="connsiteY0" fmla="*/ 617220 h 3886200"/>
              <a:gd name="connsiteX1" fmla="*/ 2179320 w 6591300"/>
              <a:gd name="connsiteY1" fmla="*/ 487680 h 3886200"/>
              <a:gd name="connsiteX2" fmla="*/ 2293620 w 6591300"/>
              <a:gd name="connsiteY2" fmla="*/ 0 h 3886200"/>
              <a:gd name="connsiteX3" fmla="*/ 2606040 w 6591300"/>
              <a:gd name="connsiteY3" fmla="*/ 7620 h 3886200"/>
              <a:gd name="connsiteX4" fmla="*/ 2689860 w 6591300"/>
              <a:gd name="connsiteY4" fmla="*/ 396240 h 3886200"/>
              <a:gd name="connsiteX5" fmla="*/ 3055620 w 6591300"/>
              <a:gd name="connsiteY5" fmla="*/ 426720 h 3886200"/>
              <a:gd name="connsiteX6" fmla="*/ 3649980 w 6591300"/>
              <a:gd name="connsiteY6" fmla="*/ 464820 h 3886200"/>
              <a:gd name="connsiteX7" fmla="*/ 3855720 w 6591300"/>
              <a:gd name="connsiteY7" fmla="*/ 502920 h 3886200"/>
              <a:gd name="connsiteX8" fmla="*/ 3931920 w 6591300"/>
              <a:gd name="connsiteY8" fmla="*/ 457200 h 3886200"/>
              <a:gd name="connsiteX9" fmla="*/ 4137660 w 6591300"/>
              <a:gd name="connsiteY9" fmla="*/ 777240 h 3886200"/>
              <a:gd name="connsiteX10" fmla="*/ 4251960 w 6591300"/>
              <a:gd name="connsiteY10" fmla="*/ 1432560 h 3886200"/>
              <a:gd name="connsiteX11" fmla="*/ 6591300 w 6591300"/>
              <a:gd name="connsiteY11" fmla="*/ 3886200 h 3886200"/>
              <a:gd name="connsiteX12" fmla="*/ 0 w 6591300"/>
              <a:gd name="connsiteY12" fmla="*/ 3886200 h 3886200"/>
              <a:gd name="connsiteX13" fmla="*/ 60960 w 6591300"/>
              <a:gd name="connsiteY13" fmla="*/ 617220 h 3886200"/>
              <a:gd name="connsiteX0" fmla="*/ 60960 w 6591300"/>
              <a:gd name="connsiteY0" fmla="*/ 617220 h 3886200"/>
              <a:gd name="connsiteX1" fmla="*/ 2179320 w 6591300"/>
              <a:gd name="connsiteY1" fmla="*/ 487680 h 3886200"/>
              <a:gd name="connsiteX2" fmla="*/ 2293620 w 6591300"/>
              <a:gd name="connsiteY2" fmla="*/ 0 h 3886200"/>
              <a:gd name="connsiteX3" fmla="*/ 2606040 w 6591300"/>
              <a:gd name="connsiteY3" fmla="*/ 7620 h 3886200"/>
              <a:gd name="connsiteX4" fmla="*/ 2689860 w 6591300"/>
              <a:gd name="connsiteY4" fmla="*/ 396240 h 3886200"/>
              <a:gd name="connsiteX5" fmla="*/ 3055620 w 6591300"/>
              <a:gd name="connsiteY5" fmla="*/ 426720 h 3886200"/>
              <a:gd name="connsiteX6" fmla="*/ 3649980 w 6591300"/>
              <a:gd name="connsiteY6" fmla="*/ 464820 h 3886200"/>
              <a:gd name="connsiteX7" fmla="*/ 3855720 w 6591300"/>
              <a:gd name="connsiteY7" fmla="*/ 502920 h 3886200"/>
              <a:gd name="connsiteX8" fmla="*/ 4130040 w 6591300"/>
              <a:gd name="connsiteY8" fmla="*/ 533400 h 3886200"/>
              <a:gd name="connsiteX9" fmla="*/ 4137660 w 6591300"/>
              <a:gd name="connsiteY9" fmla="*/ 777240 h 3886200"/>
              <a:gd name="connsiteX10" fmla="*/ 4251960 w 6591300"/>
              <a:gd name="connsiteY10" fmla="*/ 1432560 h 3886200"/>
              <a:gd name="connsiteX11" fmla="*/ 6591300 w 6591300"/>
              <a:gd name="connsiteY11" fmla="*/ 3886200 h 3886200"/>
              <a:gd name="connsiteX12" fmla="*/ 0 w 6591300"/>
              <a:gd name="connsiteY12" fmla="*/ 3886200 h 3886200"/>
              <a:gd name="connsiteX13" fmla="*/ 60960 w 6591300"/>
              <a:gd name="connsiteY13" fmla="*/ 617220 h 3886200"/>
              <a:gd name="connsiteX0" fmla="*/ 60960 w 6591300"/>
              <a:gd name="connsiteY0" fmla="*/ 617220 h 3886200"/>
              <a:gd name="connsiteX1" fmla="*/ 2179320 w 6591300"/>
              <a:gd name="connsiteY1" fmla="*/ 487680 h 3886200"/>
              <a:gd name="connsiteX2" fmla="*/ 2293620 w 6591300"/>
              <a:gd name="connsiteY2" fmla="*/ 0 h 3886200"/>
              <a:gd name="connsiteX3" fmla="*/ 2606040 w 6591300"/>
              <a:gd name="connsiteY3" fmla="*/ 7620 h 3886200"/>
              <a:gd name="connsiteX4" fmla="*/ 2689860 w 6591300"/>
              <a:gd name="connsiteY4" fmla="*/ 396240 h 3886200"/>
              <a:gd name="connsiteX5" fmla="*/ 3055620 w 6591300"/>
              <a:gd name="connsiteY5" fmla="*/ 426720 h 3886200"/>
              <a:gd name="connsiteX6" fmla="*/ 3649980 w 6591300"/>
              <a:gd name="connsiteY6" fmla="*/ 464820 h 3886200"/>
              <a:gd name="connsiteX7" fmla="*/ 3855720 w 6591300"/>
              <a:gd name="connsiteY7" fmla="*/ 502920 h 3886200"/>
              <a:gd name="connsiteX8" fmla="*/ 4130040 w 6591300"/>
              <a:gd name="connsiteY8" fmla="*/ 533400 h 3886200"/>
              <a:gd name="connsiteX9" fmla="*/ 4137660 w 6591300"/>
              <a:gd name="connsiteY9" fmla="*/ 777240 h 3886200"/>
              <a:gd name="connsiteX10" fmla="*/ 4251960 w 6591300"/>
              <a:gd name="connsiteY10" fmla="*/ 1432560 h 3886200"/>
              <a:gd name="connsiteX11" fmla="*/ 6591300 w 6591300"/>
              <a:gd name="connsiteY11" fmla="*/ 3886200 h 3886200"/>
              <a:gd name="connsiteX12" fmla="*/ 0 w 6591300"/>
              <a:gd name="connsiteY12" fmla="*/ 3886200 h 3886200"/>
              <a:gd name="connsiteX13" fmla="*/ 60960 w 6591300"/>
              <a:gd name="connsiteY13" fmla="*/ 617220 h 3886200"/>
              <a:gd name="connsiteX0" fmla="*/ 60960 w 6408420"/>
              <a:gd name="connsiteY0" fmla="*/ 617220 h 3886200"/>
              <a:gd name="connsiteX1" fmla="*/ 2179320 w 6408420"/>
              <a:gd name="connsiteY1" fmla="*/ 487680 h 3886200"/>
              <a:gd name="connsiteX2" fmla="*/ 2293620 w 6408420"/>
              <a:gd name="connsiteY2" fmla="*/ 0 h 3886200"/>
              <a:gd name="connsiteX3" fmla="*/ 2606040 w 6408420"/>
              <a:gd name="connsiteY3" fmla="*/ 7620 h 3886200"/>
              <a:gd name="connsiteX4" fmla="*/ 2689860 w 6408420"/>
              <a:gd name="connsiteY4" fmla="*/ 396240 h 3886200"/>
              <a:gd name="connsiteX5" fmla="*/ 3055620 w 6408420"/>
              <a:gd name="connsiteY5" fmla="*/ 426720 h 3886200"/>
              <a:gd name="connsiteX6" fmla="*/ 3649980 w 6408420"/>
              <a:gd name="connsiteY6" fmla="*/ 464820 h 3886200"/>
              <a:gd name="connsiteX7" fmla="*/ 3855720 w 6408420"/>
              <a:gd name="connsiteY7" fmla="*/ 502920 h 3886200"/>
              <a:gd name="connsiteX8" fmla="*/ 4130040 w 6408420"/>
              <a:gd name="connsiteY8" fmla="*/ 533400 h 3886200"/>
              <a:gd name="connsiteX9" fmla="*/ 4137660 w 6408420"/>
              <a:gd name="connsiteY9" fmla="*/ 777240 h 3886200"/>
              <a:gd name="connsiteX10" fmla="*/ 4251960 w 6408420"/>
              <a:gd name="connsiteY10" fmla="*/ 1432560 h 3886200"/>
              <a:gd name="connsiteX11" fmla="*/ 6408420 w 6408420"/>
              <a:gd name="connsiteY11" fmla="*/ 1676400 h 3886200"/>
              <a:gd name="connsiteX12" fmla="*/ 0 w 6408420"/>
              <a:gd name="connsiteY12" fmla="*/ 3886200 h 3886200"/>
              <a:gd name="connsiteX13" fmla="*/ 60960 w 6408420"/>
              <a:gd name="connsiteY13" fmla="*/ 617220 h 3886200"/>
              <a:gd name="connsiteX0" fmla="*/ 60960 w 6408420"/>
              <a:gd name="connsiteY0" fmla="*/ 617220 h 3886200"/>
              <a:gd name="connsiteX1" fmla="*/ 2179320 w 6408420"/>
              <a:gd name="connsiteY1" fmla="*/ 487680 h 3886200"/>
              <a:gd name="connsiteX2" fmla="*/ 2293620 w 6408420"/>
              <a:gd name="connsiteY2" fmla="*/ 0 h 3886200"/>
              <a:gd name="connsiteX3" fmla="*/ 2606040 w 6408420"/>
              <a:gd name="connsiteY3" fmla="*/ 7620 h 3886200"/>
              <a:gd name="connsiteX4" fmla="*/ 2689860 w 6408420"/>
              <a:gd name="connsiteY4" fmla="*/ 396240 h 3886200"/>
              <a:gd name="connsiteX5" fmla="*/ 3055620 w 6408420"/>
              <a:gd name="connsiteY5" fmla="*/ 426720 h 3886200"/>
              <a:gd name="connsiteX6" fmla="*/ 3649980 w 6408420"/>
              <a:gd name="connsiteY6" fmla="*/ 464820 h 3886200"/>
              <a:gd name="connsiteX7" fmla="*/ 3855720 w 6408420"/>
              <a:gd name="connsiteY7" fmla="*/ 502920 h 3886200"/>
              <a:gd name="connsiteX8" fmla="*/ 4130040 w 6408420"/>
              <a:gd name="connsiteY8" fmla="*/ 533400 h 3886200"/>
              <a:gd name="connsiteX9" fmla="*/ 4137660 w 6408420"/>
              <a:gd name="connsiteY9" fmla="*/ 777240 h 3886200"/>
              <a:gd name="connsiteX10" fmla="*/ 4229100 w 6408420"/>
              <a:gd name="connsiteY10" fmla="*/ 1409700 h 3886200"/>
              <a:gd name="connsiteX11" fmla="*/ 6408420 w 6408420"/>
              <a:gd name="connsiteY11" fmla="*/ 1676400 h 3886200"/>
              <a:gd name="connsiteX12" fmla="*/ 0 w 6408420"/>
              <a:gd name="connsiteY12" fmla="*/ 3886200 h 3886200"/>
              <a:gd name="connsiteX13" fmla="*/ 60960 w 6408420"/>
              <a:gd name="connsiteY13" fmla="*/ 617220 h 3886200"/>
              <a:gd name="connsiteX0" fmla="*/ 60960 w 6408420"/>
              <a:gd name="connsiteY0" fmla="*/ 617220 h 3886200"/>
              <a:gd name="connsiteX1" fmla="*/ 2179320 w 6408420"/>
              <a:gd name="connsiteY1" fmla="*/ 487680 h 3886200"/>
              <a:gd name="connsiteX2" fmla="*/ 2293620 w 6408420"/>
              <a:gd name="connsiteY2" fmla="*/ 0 h 3886200"/>
              <a:gd name="connsiteX3" fmla="*/ 2606040 w 6408420"/>
              <a:gd name="connsiteY3" fmla="*/ 7620 h 3886200"/>
              <a:gd name="connsiteX4" fmla="*/ 2689860 w 6408420"/>
              <a:gd name="connsiteY4" fmla="*/ 396240 h 3886200"/>
              <a:gd name="connsiteX5" fmla="*/ 3055620 w 6408420"/>
              <a:gd name="connsiteY5" fmla="*/ 426720 h 3886200"/>
              <a:gd name="connsiteX6" fmla="*/ 3649980 w 6408420"/>
              <a:gd name="connsiteY6" fmla="*/ 464820 h 3886200"/>
              <a:gd name="connsiteX7" fmla="*/ 3855720 w 6408420"/>
              <a:gd name="connsiteY7" fmla="*/ 502920 h 3886200"/>
              <a:gd name="connsiteX8" fmla="*/ 4130040 w 6408420"/>
              <a:gd name="connsiteY8" fmla="*/ 533400 h 3886200"/>
              <a:gd name="connsiteX9" fmla="*/ 4137660 w 6408420"/>
              <a:gd name="connsiteY9" fmla="*/ 777240 h 3886200"/>
              <a:gd name="connsiteX10" fmla="*/ 4229100 w 6408420"/>
              <a:gd name="connsiteY10" fmla="*/ 1409700 h 3886200"/>
              <a:gd name="connsiteX11" fmla="*/ 6408420 w 6408420"/>
              <a:gd name="connsiteY11" fmla="*/ 1676400 h 3886200"/>
              <a:gd name="connsiteX12" fmla="*/ 3642360 w 6408420"/>
              <a:gd name="connsiteY12" fmla="*/ 2636520 h 3886200"/>
              <a:gd name="connsiteX13" fmla="*/ 0 w 6408420"/>
              <a:gd name="connsiteY13" fmla="*/ 3886200 h 3886200"/>
              <a:gd name="connsiteX14" fmla="*/ 60960 w 6408420"/>
              <a:gd name="connsiteY14" fmla="*/ 617220 h 3886200"/>
              <a:gd name="connsiteX0" fmla="*/ 60960 w 6408420"/>
              <a:gd name="connsiteY0" fmla="*/ 617220 h 3886200"/>
              <a:gd name="connsiteX1" fmla="*/ 2179320 w 6408420"/>
              <a:gd name="connsiteY1" fmla="*/ 487680 h 3886200"/>
              <a:gd name="connsiteX2" fmla="*/ 2293620 w 6408420"/>
              <a:gd name="connsiteY2" fmla="*/ 0 h 3886200"/>
              <a:gd name="connsiteX3" fmla="*/ 2606040 w 6408420"/>
              <a:gd name="connsiteY3" fmla="*/ 7620 h 3886200"/>
              <a:gd name="connsiteX4" fmla="*/ 2689860 w 6408420"/>
              <a:gd name="connsiteY4" fmla="*/ 396240 h 3886200"/>
              <a:gd name="connsiteX5" fmla="*/ 3055620 w 6408420"/>
              <a:gd name="connsiteY5" fmla="*/ 426720 h 3886200"/>
              <a:gd name="connsiteX6" fmla="*/ 3649980 w 6408420"/>
              <a:gd name="connsiteY6" fmla="*/ 464820 h 3886200"/>
              <a:gd name="connsiteX7" fmla="*/ 3855720 w 6408420"/>
              <a:gd name="connsiteY7" fmla="*/ 502920 h 3886200"/>
              <a:gd name="connsiteX8" fmla="*/ 4130040 w 6408420"/>
              <a:gd name="connsiteY8" fmla="*/ 533400 h 3886200"/>
              <a:gd name="connsiteX9" fmla="*/ 4137660 w 6408420"/>
              <a:gd name="connsiteY9" fmla="*/ 777240 h 3886200"/>
              <a:gd name="connsiteX10" fmla="*/ 4229100 w 6408420"/>
              <a:gd name="connsiteY10" fmla="*/ 1409700 h 3886200"/>
              <a:gd name="connsiteX11" fmla="*/ 6408420 w 6408420"/>
              <a:gd name="connsiteY11" fmla="*/ 1676400 h 3886200"/>
              <a:gd name="connsiteX12" fmla="*/ 2613660 w 6408420"/>
              <a:gd name="connsiteY12" fmla="*/ 1638300 h 3886200"/>
              <a:gd name="connsiteX13" fmla="*/ 0 w 6408420"/>
              <a:gd name="connsiteY13" fmla="*/ 3886200 h 3886200"/>
              <a:gd name="connsiteX14" fmla="*/ 60960 w 6408420"/>
              <a:gd name="connsiteY14" fmla="*/ 617220 h 3886200"/>
              <a:gd name="connsiteX0" fmla="*/ 60960 w 6408420"/>
              <a:gd name="connsiteY0" fmla="*/ 617220 h 3886200"/>
              <a:gd name="connsiteX1" fmla="*/ 2179320 w 6408420"/>
              <a:gd name="connsiteY1" fmla="*/ 487680 h 3886200"/>
              <a:gd name="connsiteX2" fmla="*/ 2293620 w 6408420"/>
              <a:gd name="connsiteY2" fmla="*/ 0 h 3886200"/>
              <a:gd name="connsiteX3" fmla="*/ 2606040 w 6408420"/>
              <a:gd name="connsiteY3" fmla="*/ 7620 h 3886200"/>
              <a:gd name="connsiteX4" fmla="*/ 2689860 w 6408420"/>
              <a:gd name="connsiteY4" fmla="*/ 396240 h 3886200"/>
              <a:gd name="connsiteX5" fmla="*/ 3055620 w 6408420"/>
              <a:gd name="connsiteY5" fmla="*/ 426720 h 3886200"/>
              <a:gd name="connsiteX6" fmla="*/ 3649980 w 6408420"/>
              <a:gd name="connsiteY6" fmla="*/ 464820 h 3886200"/>
              <a:gd name="connsiteX7" fmla="*/ 3855720 w 6408420"/>
              <a:gd name="connsiteY7" fmla="*/ 502920 h 3886200"/>
              <a:gd name="connsiteX8" fmla="*/ 4130040 w 6408420"/>
              <a:gd name="connsiteY8" fmla="*/ 533400 h 3886200"/>
              <a:gd name="connsiteX9" fmla="*/ 4137660 w 6408420"/>
              <a:gd name="connsiteY9" fmla="*/ 777240 h 3886200"/>
              <a:gd name="connsiteX10" fmla="*/ 4229100 w 6408420"/>
              <a:gd name="connsiteY10" fmla="*/ 1409700 h 3886200"/>
              <a:gd name="connsiteX11" fmla="*/ 6408420 w 6408420"/>
              <a:gd name="connsiteY11" fmla="*/ 1676400 h 3886200"/>
              <a:gd name="connsiteX12" fmla="*/ 2613660 w 6408420"/>
              <a:gd name="connsiteY12" fmla="*/ 1638300 h 3886200"/>
              <a:gd name="connsiteX13" fmla="*/ 0 w 6408420"/>
              <a:gd name="connsiteY13" fmla="*/ 3886200 h 3886200"/>
              <a:gd name="connsiteX14" fmla="*/ 60960 w 6408420"/>
              <a:gd name="connsiteY14" fmla="*/ 617220 h 3886200"/>
              <a:gd name="connsiteX0" fmla="*/ 60960 w 6408420"/>
              <a:gd name="connsiteY0" fmla="*/ 617220 h 3886200"/>
              <a:gd name="connsiteX1" fmla="*/ 2179320 w 6408420"/>
              <a:gd name="connsiteY1" fmla="*/ 487680 h 3886200"/>
              <a:gd name="connsiteX2" fmla="*/ 2293620 w 6408420"/>
              <a:gd name="connsiteY2" fmla="*/ 0 h 3886200"/>
              <a:gd name="connsiteX3" fmla="*/ 2606040 w 6408420"/>
              <a:gd name="connsiteY3" fmla="*/ 7620 h 3886200"/>
              <a:gd name="connsiteX4" fmla="*/ 2689860 w 6408420"/>
              <a:gd name="connsiteY4" fmla="*/ 396240 h 3886200"/>
              <a:gd name="connsiteX5" fmla="*/ 3055620 w 6408420"/>
              <a:gd name="connsiteY5" fmla="*/ 426720 h 3886200"/>
              <a:gd name="connsiteX6" fmla="*/ 3649980 w 6408420"/>
              <a:gd name="connsiteY6" fmla="*/ 464820 h 3886200"/>
              <a:gd name="connsiteX7" fmla="*/ 3855720 w 6408420"/>
              <a:gd name="connsiteY7" fmla="*/ 502920 h 3886200"/>
              <a:gd name="connsiteX8" fmla="*/ 4130040 w 6408420"/>
              <a:gd name="connsiteY8" fmla="*/ 533400 h 3886200"/>
              <a:gd name="connsiteX9" fmla="*/ 4137660 w 6408420"/>
              <a:gd name="connsiteY9" fmla="*/ 777240 h 3886200"/>
              <a:gd name="connsiteX10" fmla="*/ 4229100 w 6408420"/>
              <a:gd name="connsiteY10" fmla="*/ 1409700 h 3886200"/>
              <a:gd name="connsiteX11" fmla="*/ 6408420 w 6408420"/>
              <a:gd name="connsiteY11" fmla="*/ 1676400 h 3886200"/>
              <a:gd name="connsiteX12" fmla="*/ 2613660 w 6408420"/>
              <a:gd name="connsiteY12" fmla="*/ 1638300 h 3886200"/>
              <a:gd name="connsiteX13" fmla="*/ 0 w 6408420"/>
              <a:gd name="connsiteY13" fmla="*/ 3886200 h 3886200"/>
              <a:gd name="connsiteX14" fmla="*/ 60960 w 6408420"/>
              <a:gd name="connsiteY14" fmla="*/ 617220 h 3886200"/>
              <a:gd name="connsiteX0" fmla="*/ 0 w 6347460"/>
              <a:gd name="connsiteY0" fmla="*/ 617220 h 3886200"/>
              <a:gd name="connsiteX1" fmla="*/ 2118360 w 6347460"/>
              <a:gd name="connsiteY1" fmla="*/ 487680 h 3886200"/>
              <a:gd name="connsiteX2" fmla="*/ 2232660 w 6347460"/>
              <a:gd name="connsiteY2" fmla="*/ 0 h 3886200"/>
              <a:gd name="connsiteX3" fmla="*/ 2545080 w 6347460"/>
              <a:gd name="connsiteY3" fmla="*/ 7620 h 3886200"/>
              <a:gd name="connsiteX4" fmla="*/ 2628900 w 6347460"/>
              <a:gd name="connsiteY4" fmla="*/ 396240 h 3886200"/>
              <a:gd name="connsiteX5" fmla="*/ 2994660 w 6347460"/>
              <a:gd name="connsiteY5" fmla="*/ 426720 h 3886200"/>
              <a:gd name="connsiteX6" fmla="*/ 3589020 w 6347460"/>
              <a:gd name="connsiteY6" fmla="*/ 464820 h 3886200"/>
              <a:gd name="connsiteX7" fmla="*/ 3794760 w 6347460"/>
              <a:gd name="connsiteY7" fmla="*/ 502920 h 3886200"/>
              <a:gd name="connsiteX8" fmla="*/ 4069080 w 6347460"/>
              <a:gd name="connsiteY8" fmla="*/ 533400 h 3886200"/>
              <a:gd name="connsiteX9" fmla="*/ 4076700 w 6347460"/>
              <a:gd name="connsiteY9" fmla="*/ 777240 h 3886200"/>
              <a:gd name="connsiteX10" fmla="*/ 4168140 w 6347460"/>
              <a:gd name="connsiteY10" fmla="*/ 1409700 h 3886200"/>
              <a:gd name="connsiteX11" fmla="*/ 6347460 w 6347460"/>
              <a:gd name="connsiteY11" fmla="*/ 1676400 h 3886200"/>
              <a:gd name="connsiteX12" fmla="*/ 2552700 w 6347460"/>
              <a:gd name="connsiteY12" fmla="*/ 1638300 h 3886200"/>
              <a:gd name="connsiteX13" fmla="*/ 1798320 w 6347460"/>
              <a:gd name="connsiteY13" fmla="*/ 3886200 h 3886200"/>
              <a:gd name="connsiteX14" fmla="*/ 0 w 6347460"/>
              <a:gd name="connsiteY14" fmla="*/ 617220 h 3886200"/>
              <a:gd name="connsiteX0" fmla="*/ 0 w 6347460"/>
              <a:gd name="connsiteY0" fmla="*/ 617220 h 3886200"/>
              <a:gd name="connsiteX1" fmla="*/ 2118360 w 6347460"/>
              <a:gd name="connsiteY1" fmla="*/ 487680 h 3886200"/>
              <a:gd name="connsiteX2" fmla="*/ 2232660 w 6347460"/>
              <a:gd name="connsiteY2" fmla="*/ 0 h 3886200"/>
              <a:gd name="connsiteX3" fmla="*/ 2545080 w 6347460"/>
              <a:gd name="connsiteY3" fmla="*/ 7620 h 3886200"/>
              <a:gd name="connsiteX4" fmla="*/ 2628900 w 6347460"/>
              <a:gd name="connsiteY4" fmla="*/ 396240 h 3886200"/>
              <a:gd name="connsiteX5" fmla="*/ 2994660 w 6347460"/>
              <a:gd name="connsiteY5" fmla="*/ 426720 h 3886200"/>
              <a:gd name="connsiteX6" fmla="*/ 3589020 w 6347460"/>
              <a:gd name="connsiteY6" fmla="*/ 464820 h 3886200"/>
              <a:gd name="connsiteX7" fmla="*/ 3794760 w 6347460"/>
              <a:gd name="connsiteY7" fmla="*/ 502920 h 3886200"/>
              <a:gd name="connsiteX8" fmla="*/ 4069080 w 6347460"/>
              <a:gd name="connsiteY8" fmla="*/ 533400 h 3886200"/>
              <a:gd name="connsiteX9" fmla="*/ 4076700 w 6347460"/>
              <a:gd name="connsiteY9" fmla="*/ 777240 h 3886200"/>
              <a:gd name="connsiteX10" fmla="*/ 4168140 w 6347460"/>
              <a:gd name="connsiteY10" fmla="*/ 1409700 h 3886200"/>
              <a:gd name="connsiteX11" fmla="*/ 6347460 w 6347460"/>
              <a:gd name="connsiteY11" fmla="*/ 1676400 h 3886200"/>
              <a:gd name="connsiteX12" fmla="*/ 2552700 w 6347460"/>
              <a:gd name="connsiteY12" fmla="*/ 1638300 h 3886200"/>
              <a:gd name="connsiteX13" fmla="*/ 1798320 w 6347460"/>
              <a:gd name="connsiteY13" fmla="*/ 3886200 h 3886200"/>
              <a:gd name="connsiteX14" fmla="*/ 0 w 6347460"/>
              <a:gd name="connsiteY14" fmla="*/ 617220 h 3886200"/>
              <a:gd name="connsiteX0" fmla="*/ 0 w 6347460"/>
              <a:gd name="connsiteY0" fmla="*/ 617220 h 3886200"/>
              <a:gd name="connsiteX1" fmla="*/ 2118360 w 6347460"/>
              <a:gd name="connsiteY1" fmla="*/ 487680 h 3886200"/>
              <a:gd name="connsiteX2" fmla="*/ 2232660 w 6347460"/>
              <a:gd name="connsiteY2" fmla="*/ 0 h 3886200"/>
              <a:gd name="connsiteX3" fmla="*/ 2545080 w 6347460"/>
              <a:gd name="connsiteY3" fmla="*/ 7620 h 3886200"/>
              <a:gd name="connsiteX4" fmla="*/ 2628900 w 6347460"/>
              <a:gd name="connsiteY4" fmla="*/ 396240 h 3886200"/>
              <a:gd name="connsiteX5" fmla="*/ 2994660 w 6347460"/>
              <a:gd name="connsiteY5" fmla="*/ 426720 h 3886200"/>
              <a:gd name="connsiteX6" fmla="*/ 3589020 w 6347460"/>
              <a:gd name="connsiteY6" fmla="*/ 464820 h 3886200"/>
              <a:gd name="connsiteX7" fmla="*/ 3794760 w 6347460"/>
              <a:gd name="connsiteY7" fmla="*/ 502920 h 3886200"/>
              <a:gd name="connsiteX8" fmla="*/ 4069080 w 6347460"/>
              <a:gd name="connsiteY8" fmla="*/ 533400 h 3886200"/>
              <a:gd name="connsiteX9" fmla="*/ 4076700 w 6347460"/>
              <a:gd name="connsiteY9" fmla="*/ 777240 h 3886200"/>
              <a:gd name="connsiteX10" fmla="*/ 4168140 w 6347460"/>
              <a:gd name="connsiteY10" fmla="*/ 1409700 h 3886200"/>
              <a:gd name="connsiteX11" fmla="*/ 6347460 w 6347460"/>
              <a:gd name="connsiteY11" fmla="*/ 1676400 h 3886200"/>
              <a:gd name="connsiteX12" fmla="*/ 2552700 w 6347460"/>
              <a:gd name="connsiteY12" fmla="*/ 1638300 h 3886200"/>
              <a:gd name="connsiteX13" fmla="*/ 1798320 w 6347460"/>
              <a:gd name="connsiteY13" fmla="*/ 3886200 h 3886200"/>
              <a:gd name="connsiteX14" fmla="*/ 0 w 6347460"/>
              <a:gd name="connsiteY14" fmla="*/ 617220 h 3886200"/>
              <a:gd name="connsiteX0" fmla="*/ 0 w 6347460"/>
              <a:gd name="connsiteY0" fmla="*/ 617220 h 3886200"/>
              <a:gd name="connsiteX1" fmla="*/ 2118360 w 6347460"/>
              <a:gd name="connsiteY1" fmla="*/ 487680 h 3886200"/>
              <a:gd name="connsiteX2" fmla="*/ 2232660 w 6347460"/>
              <a:gd name="connsiteY2" fmla="*/ 0 h 3886200"/>
              <a:gd name="connsiteX3" fmla="*/ 2545080 w 6347460"/>
              <a:gd name="connsiteY3" fmla="*/ 7620 h 3886200"/>
              <a:gd name="connsiteX4" fmla="*/ 2628900 w 6347460"/>
              <a:gd name="connsiteY4" fmla="*/ 396240 h 3886200"/>
              <a:gd name="connsiteX5" fmla="*/ 2994660 w 6347460"/>
              <a:gd name="connsiteY5" fmla="*/ 426720 h 3886200"/>
              <a:gd name="connsiteX6" fmla="*/ 3589020 w 6347460"/>
              <a:gd name="connsiteY6" fmla="*/ 464820 h 3886200"/>
              <a:gd name="connsiteX7" fmla="*/ 3794760 w 6347460"/>
              <a:gd name="connsiteY7" fmla="*/ 502920 h 3886200"/>
              <a:gd name="connsiteX8" fmla="*/ 4069080 w 6347460"/>
              <a:gd name="connsiteY8" fmla="*/ 533400 h 3886200"/>
              <a:gd name="connsiteX9" fmla="*/ 4076700 w 6347460"/>
              <a:gd name="connsiteY9" fmla="*/ 777240 h 3886200"/>
              <a:gd name="connsiteX10" fmla="*/ 4168140 w 6347460"/>
              <a:gd name="connsiteY10" fmla="*/ 1409700 h 3886200"/>
              <a:gd name="connsiteX11" fmla="*/ 6347460 w 6347460"/>
              <a:gd name="connsiteY11" fmla="*/ 1676400 h 3886200"/>
              <a:gd name="connsiteX12" fmla="*/ 2552700 w 6347460"/>
              <a:gd name="connsiteY12" fmla="*/ 1638300 h 3886200"/>
              <a:gd name="connsiteX13" fmla="*/ 1798320 w 6347460"/>
              <a:gd name="connsiteY13" fmla="*/ 3886200 h 3886200"/>
              <a:gd name="connsiteX14" fmla="*/ 1066800 w 6347460"/>
              <a:gd name="connsiteY14" fmla="*/ 2590800 h 3886200"/>
              <a:gd name="connsiteX15" fmla="*/ 0 w 6347460"/>
              <a:gd name="connsiteY15" fmla="*/ 617220 h 3886200"/>
              <a:gd name="connsiteX0" fmla="*/ 0 w 6347460"/>
              <a:gd name="connsiteY0" fmla="*/ 617220 h 3886200"/>
              <a:gd name="connsiteX1" fmla="*/ 2118360 w 6347460"/>
              <a:gd name="connsiteY1" fmla="*/ 487680 h 3886200"/>
              <a:gd name="connsiteX2" fmla="*/ 2232660 w 6347460"/>
              <a:gd name="connsiteY2" fmla="*/ 0 h 3886200"/>
              <a:gd name="connsiteX3" fmla="*/ 2545080 w 6347460"/>
              <a:gd name="connsiteY3" fmla="*/ 7620 h 3886200"/>
              <a:gd name="connsiteX4" fmla="*/ 2628900 w 6347460"/>
              <a:gd name="connsiteY4" fmla="*/ 396240 h 3886200"/>
              <a:gd name="connsiteX5" fmla="*/ 2994660 w 6347460"/>
              <a:gd name="connsiteY5" fmla="*/ 426720 h 3886200"/>
              <a:gd name="connsiteX6" fmla="*/ 3589020 w 6347460"/>
              <a:gd name="connsiteY6" fmla="*/ 464820 h 3886200"/>
              <a:gd name="connsiteX7" fmla="*/ 3794760 w 6347460"/>
              <a:gd name="connsiteY7" fmla="*/ 502920 h 3886200"/>
              <a:gd name="connsiteX8" fmla="*/ 4069080 w 6347460"/>
              <a:gd name="connsiteY8" fmla="*/ 533400 h 3886200"/>
              <a:gd name="connsiteX9" fmla="*/ 4076700 w 6347460"/>
              <a:gd name="connsiteY9" fmla="*/ 777240 h 3886200"/>
              <a:gd name="connsiteX10" fmla="*/ 4168140 w 6347460"/>
              <a:gd name="connsiteY10" fmla="*/ 1409700 h 3886200"/>
              <a:gd name="connsiteX11" fmla="*/ 6347460 w 6347460"/>
              <a:gd name="connsiteY11" fmla="*/ 1676400 h 3886200"/>
              <a:gd name="connsiteX12" fmla="*/ 2552700 w 6347460"/>
              <a:gd name="connsiteY12" fmla="*/ 1638300 h 3886200"/>
              <a:gd name="connsiteX13" fmla="*/ 1798320 w 6347460"/>
              <a:gd name="connsiteY13" fmla="*/ 3886200 h 3886200"/>
              <a:gd name="connsiteX14" fmla="*/ 1066800 w 6347460"/>
              <a:gd name="connsiteY14" fmla="*/ 2590800 h 3886200"/>
              <a:gd name="connsiteX15" fmla="*/ 0 w 6347460"/>
              <a:gd name="connsiteY15" fmla="*/ 617220 h 3886200"/>
              <a:gd name="connsiteX0" fmla="*/ 0 w 6347460"/>
              <a:gd name="connsiteY0" fmla="*/ 617220 h 3886200"/>
              <a:gd name="connsiteX1" fmla="*/ 2118360 w 6347460"/>
              <a:gd name="connsiteY1" fmla="*/ 487680 h 3886200"/>
              <a:gd name="connsiteX2" fmla="*/ 2232660 w 6347460"/>
              <a:gd name="connsiteY2" fmla="*/ 0 h 3886200"/>
              <a:gd name="connsiteX3" fmla="*/ 2545080 w 6347460"/>
              <a:gd name="connsiteY3" fmla="*/ 7620 h 3886200"/>
              <a:gd name="connsiteX4" fmla="*/ 2628900 w 6347460"/>
              <a:gd name="connsiteY4" fmla="*/ 396240 h 3886200"/>
              <a:gd name="connsiteX5" fmla="*/ 2994660 w 6347460"/>
              <a:gd name="connsiteY5" fmla="*/ 426720 h 3886200"/>
              <a:gd name="connsiteX6" fmla="*/ 3589020 w 6347460"/>
              <a:gd name="connsiteY6" fmla="*/ 464820 h 3886200"/>
              <a:gd name="connsiteX7" fmla="*/ 3794760 w 6347460"/>
              <a:gd name="connsiteY7" fmla="*/ 502920 h 3886200"/>
              <a:gd name="connsiteX8" fmla="*/ 4069080 w 6347460"/>
              <a:gd name="connsiteY8" fmla="*/ 533400 h 3886200"/>
              <a:gd name="connsiteX9" fmla="*/ 4076700 w 6347460"/>
              <a:gd name="connsiteY9" fmla="*/ 777240 h 3886200"/>
              <a:gd name="connsiteX10" fmla="*/ 4168140 w 6347460"/>
              <a:gd name="connsiteY10" fmla="*/ 1409700 h 3886200"/>
              <a:gd name="connsiteX11" fmla="*/ 6347460 w 6347460"/>
              <a:gd name="connsiteY11" fmla="*/ 1676400 h 3886200"/>
              <a:gd name="connsiteX12" fmla="*/ 2552700 w 6347460"/>
              <a:gd name="connsiteY12" fmla="*/ 1638300 h 3886200"/>
              <a:gd name="connsiteX13" fmla="*/ 1798320 w 6347460"/>
              <a:gd name="connsiteY13" fmla="*/ 3886200 h 3886200"/>
              <a:gd name="connsiteX14" fmla="*/ 1066800 w 6347460"/>
              <a:gd name="connsiteY14" fmla="*/ 2590800 h 3886200"/>
              <a:gd name="connsiteX15" fmla="*/ 0 w 6347460"/>
              <a:gd name="connsiteY15" fmla="*/ 617220 h 3886200"/>
              <a:gd name="connsiteX0" fmla="*/ 0 w 6347460"/>
              <a:gd name="connsiteY0" fmla="*/ 617220 h 3886200"/>
              <a:gd name="connsiteX1" fmla="*/ 2118360 w 6347460"/>
              <a:gd name="connsiteY1" fmla="*/ 487680 h 3886200"/>
              <a:gd name="connsiteX2" fmla="*/ 2232660 w 6347460"/>
              <a:gd name="connsiteY2" fmla="*/ 0 h 3886200"/>
              <a:gd name="connsiteX3" fmla="*/ 2545080 w 6347460"/>
              <a:gd name="connsiteY3" fmla="*/ 7620 h 3886200"/>
              <a:gd name="connsiteX4" fmla="*/ 2628900 w 6347460"/>
              <a:gd name="connsiteY4" fmla="*/ 396240 h 3886200"/>
              <a:gd name="connsiteX5" fmla="*/ 2994660 w 6347460"/>
              <a:gd name="connsiteY5" fmla="*/ 426720 h 3886200"/>
              <a:gd name="connsiteX6" fmla="*/ 3589020 w 6347460"/>
              <a:gd name="connsiteY6" fmla="*/ 464820 h 3886200"/>
              <a:gd name="connsiteX7" fmla="*/ 3794760 w 6347460"/>
              <a:gd name="connsiteY7" fmla="*/ 502920 h 3886200"/>
              <a:gd name="connsiteX8" fmla="*/ 4069080 w 6347460"/>
              <a:gd name="connsiteY8" fmla="*/ 533400 h 3886200"/>
              <a:gd name="connsiteX9" fmla="*/ 4076700 w 6347460"/>
              <a:gd name="connsiteY9" fmla="*/ 777240 h 3886200"/>
              <a:gd name="connsiteX10" fmla="*/ 4168140 w 6347460"/>
              <a:gd name="connsiteY10" fmla="*/ 1409700 h 3886200"/>
              <a:gd name="connsiteX11" fmla="*/ 6347460 w 6347460"/>
              <a:gd name="connsiteY11" fmla="*/ 1676400 h 3886200"/>
              <a:gd name="connsiteX12" fmla="*/ 2552700 w 6347460"/>
              <a:gd name="connsiteY12" fmla="*/ 1638300 h 3886200"/>
              <a:gd name="connsiteX13" fmla="*/ 1798320 w 6347460"/>
              <a:gd name="connsiteY13" fmla="*/ 3886200 h 3886200"/>
              <a:gd name="connsiteX14" fmla="*/ 990600 w 6347460"/>
              <a:gd name="connsiteY14" fmla="*/ 3688080 h 3886200"/>
              <a:gd name="connsiteX15" fmla="*/ 0 w 6347460"/>
              <a:gd name="connsiteY15" fmla="*/ 617220 h 3886200"/>
              <a:gd name="connsiteX0" fmla="*/ 0 w 6347460"/>
              <a:gd name="connsiteY0" fmla="*/ 617220 h 3886200"/>
              <a:gd name="connsiteX1" fmla="*/ 2118360 w 6347460"/>
              <a:gd name="connsiteY1" fmla="*/ 487680 h 3886200"/>
              <a:gd name="connsiteX2" fmla="*/ 2232660 w 6347460"/>
              <a:gd name="connsiteY2" fmla="*/ 0 h 3886200"/>
              <a:gd name="connsiteX3" fmla="*/ 2545080 w 6347460"/>
              <a:gd name="connsiteY3" fmla="*/ 7620 h 3886200"/>
              <a:gd name="connsiteX4" fmla="*/ 2628900 w 6347460"/>
              <a:gd name="connsiteY4" fmla="*/ 396240 h 3886200"/>
              <a:gd name="connsiteX5" fmla="*/ 2994660 w 6347460"/>
              <a:gd name="connsiteY5" fmla="*/ 426720 h 3886200"/>
              <a:gd name="connsiteX6" fmla="*/ 3589020 w 6347460"/>
              <a:gd name="connsiteY6" fmla="*/ 464820 h 3886200"/>
              <a:gd name="connsiteX7" fmla="*/ 3794760 w 6347460"/>
              <a:gd name="connsiteY7" fmla="*/ 502920 h 3886200"/>
              <a:gd name="connsiteX8" fmla="*/ 4069080 w 6347460"/>
              <a:gd name="connsiteY8" fmla="*/ 533400 h 3886200"/>
              <a:gd name="connsiteX9" fmla="*/ 4076700 w 6347460"/>
              <a:gd name="connsiteY9" fmla="*/ 777240 h 3886200"/>
              <a:gd name="connsiteX10" fmla="*/ 4168140 w 6347460"/>
              <a:gd name="connsiteY10" fmla="*/ 1409700 h 3886200"/>
              <a:gd name="connsiteX11" fmla="*/ 6347460 w 6347460"/>
              <a:gd name="connsiteY11" fmla="*/ 1676400 h 3886200"/>
              <a:gd name="connsiteX12" fmla="*/ 2552700 w 6347460"/>
              <a:gd name="connsiteY12" fmla="*/ 1638300 h 3886200"/>
              <a:gd name="connsiteX13" fmla="*/ 1798320 w 6347460"/>
              <a:gd name="connsiteY13" fmla="*/ 3886200 h 3886200"/>
              <a:gd name="connsiteX14" fmla="*/ 990600 w 6347460"/>
              <a:gd name="connsiteY14" fmla="*/ 3688080 h 3886200"/>
              <a:gd name="connsiteX15" fmla="*/ 0 w 6347460"/>
              <a:gd name="connsiteY15" fmla="*/ 617220 h 3886200"/>
              <a:gd name="connsiteX0" fmla="*/ 0 w 6347460"/>
              <a:gd name="connsiteY0" fmla="*/ 617220 h 3886200"/>
              <a:gd name="connsiteX1" fmla="*/ 2118360 w 6347460"/>
              <a:gd name="connsiteY1" fmla="*/ 487680 h 3886200"/>
              <a:gd name="connsiteX2" fmla="*/ 2232660 w 6347460"/>
              <a:gd name="connsiteY2" fmla="*/ 0 h 3886200"/>
              <a:gd name="connsiteX3" fmla="*/ 2545080 w 6347460"/>
              <a:gd name="connsiteY3" fmla="*/ 7620 h 3886200"/>
              <a:gd name="connsiteX4" fmla="*/ 2628900 w 6347460"/>
              <a:gd name="connsiteY4" fmla="*/ 396240 h 3886200"/>
              <a:gd name="connsiteX5" fmla="*/ 2994660 w 6347460"/>
              <a:gd name="connsiteY5" fmla="*/ 426720 h 3886200"/>
              <a:gd name="connsiteX6" fmla="*/ 3589020 w 6347460"/>
              <a:gd name="connsiteY6" fmla="*/ 464820 h 3886200"/>
              <a:gd name="connsiteX7" fmla="*/ 3794760 w 6347460"/>
              <a:gd name="connsiteY7" fmla="*/ 502920 h 3886200"/>
              <a:gd name="connsiteX8" fmla="*/ 4069080 w 6347460"/>
              <a:gd name="connsiteY8" fmla="*/ 533400 h 3886200"/>
              <a:gd name="connsiteX9" fmla="*/ 4076700 w 6347460"/>
              <a:gd name="connsiteY9" fmla="*/ 777240 h 3886200"/>
              <a:gd name="connsiteX10" fmla="*/ 4168140 w 6347460"/>
              <a:gd name="connsiteY10" fmla="*/ 1409700 h 3886200"/>
              <a:gd name="connsiteX11" fmla="*/ 6347460 w 6347460"/>
              <a:gd name="connsiteY11" fmla="*/ 1676400 h 3886200"/>
              <a:gd name="connsiteX12" fmla="*/ 2552700 w 6347460"/>
              <a:gd name="connsiteY12" fmla="*/ 1638300 h 3886200"/>
              <a:gd name="connsiteX13" fmla="*/ 1798320 w 6347460"/>
              <a:gd name="connsiteY13" fmla="*/ 3886200 h 3886200"/>
              <a:gd name="connsiteX14" fmla="*/ 990600 w 6347460"/>
              <a:gd name="connsiteY14" fmla="*/ 3688080 h 3886200"/>
              <a:gd name="connsiteX15" fmla="*/ 0 w 6347460"/>
              <a:gd name="connsiteY15" fmla="*/ 617220 h 3886200"/>
              <a:gd name="connsiteX0" fmla="*/ 0 w 6347460"/>
              <a:gd name="connsiteY0" fmla="*/ 617220 h 3886200"/>
              <a:gd name="connsiteX1" fmla="*/ 2118360 w 6347460"/>
              <a:gd name="connsiteY1" fmla="*/ 487680 h 3886200"/>
              <a:gd name="connsiteX2" fmla="*/ 2232660 w 6347460"/>
              <a:gd name="connsiteY2" fmla="*/ 0 h 3886200"/>
              <a:gd name="connsiteX3" fmla="*/ 2545080 w 6347460"/>
              <a:gd name="connsiteY3" fmla="*/ 7620 h 3886200"/>
              <a:gd name="connsiteX4" fmla="*/ 2628900 w 6347460"/>
              <a:gd name="connsiteY4" fmla="*/ 396240 h 3886200"/>
              <a:gd name="connsiteX5" fmla="*/ 2994660 w 6347460"/>
              <a:gd name="connsiteY5" fmla="*/ 426720 h 3886200"/>
              <a:gd name="connsiteX6" fmla="*/ 3589020 w 6347460"/>
              <a:gd name="connsiteY6" fmla="*/ 464820 h 3886200"/>
              <a:gd name="connsiteX7" fmla="*/ 3794760 w 6347460"/>
              <a:gd name="connsiteY7" fmla="*/ 502920 h 3886200"/>
              <a:gd name="connsiteX8" fmla="*/ 4069080 w 6347460"/>
              <a:gd name="connsiteY8" fmla="*/ 533400 h 3886200"/>
              <a:gd name="connsiteX9" fmla="*/ 4076700 w 6347460"/>
              <a:gd name="connsiteY9" fmla="*/ 777240 h 3886200"/>
              <a:gd name="connsiteX10" fmla="*/ 4168140 w 6347460"/>
              <a:gd name="connsiteY10" fmla="*/ 1409700 h 3886200"/>
              <a:gd name="connsiteX11" fmla="*/ 6347460 w 6347460"/>
              <a:gd name="connsiteY11" fmla="*/ 1676400 h 3886200"/>
              <a:gd name="connsiteX12" fmla="*/ 2552700 w 6347460"/>
              <a:gd name="connsiteY12" fmla="*/ 1638300 h 3886200"/>
              <a:gd name="connsiteX13" fmla="*/ 1798320 w 6347460"/>
              <a:gd name="connsiteY13" fmla="*/ 3886200 h 3886200"/>
              <a:gd name="connsiteX14" fmla="*/ 990600 w 6347460"/>
              <a:gd name="connsiteY14" fmla="*/ 3688080 h 3886200"/>
              <a:gd name="connsiteX15" fmla="*/ 472440 w 6347460"/>
              <a:gd name="connsiteY15" fmla="*/ 2072640 h 3886200"/>
              <a:gd name="connsiteX16" fmla="*/ 0 w 6347460"/>
              <a:gd name="connsiteY16" fmla="*/ 617220 h 3886200"/>
              <a:gd name="connsiteX0" fmla="*/ 0 w 6347460"/>
              <a:gd name="connsiteY0" fmla="*/ 617220 h 3886200"/>
              <a:gd name="connsiteX1" fmla="*/ 2118360 w 6347460"/>
              <a:gd name="connsiteY1" fmla="*/ 487680 h 3886200"/>
              <a:gd name="connsiteX2" fmla="*/ 2232660 w 6347460"/>
              <a:gd name="connsiteY2" fmla="*/ 0 h 3886200"/>
              <a:gd name="connsiteX3" fmla="*/ 2545080 w 6347460"/>
              <a:gd name="connsiteY3" fmla="*/ 7620 h 3886200"/>
              <a:gd name="connsiteX4" fmla="*/ 2628900 w 6347460"/>
              <a:gd name="connsiteY4" fmla="*/ 396240 h 3886200"/>
              <a:gd name="connsiteX5" fmla="*/ 2994660 w 6347460"/>
              <a:gd name="connsiteY5" fmla="*/ 426720 h 3886200"/>
              <a:gd name="connsiteX6" fmla="*/ 3589020 w 6347460"/>
              <a:gd name="connsiteY6" fmla="*/ 464820 h 3886200"/>
              <a:gd name="connsiteX7" fmla="*/ 3794760 w 6347460"/>
              <a:gd name="connsiteY7" fmla="*/ 502920 h 3886200"/>
              <a:gd name="connsiteX8" fmla="*/ 4069080 w 6347460"/>
              <a:gd name="connsiteY8" fmla="*/ 533400 h 3886200"/>
              <a:gd name="connsiteX9" fmla="*/ 4076700 w 6347460"/>
              <a:gd name="connsiteY9" fmla="*/ 777240 h 3886200"/>
              <a:gd name="connsiteX10" fmla="*/ 4168140 w 6347460"/>
              <a:gd name="connsiteY10" fmla="*/ 1409700 h 3886200"/>
              <a:gd name="connsiteX11" fmla="*/ 6347460 w 6347460"/>
              <a:gd name="connsiteY11" fmla="*/ 1676400 h 3886200"/>
              <a:gd name="connsiteX12" fmla="*/ 2552700 w 6347460"/>
              <a:gd name="connsiteY12" fmla="*/ 1638300 h 3886200"/>
              <a:gd name="connsiteX13" fmla="*/ 1798320 w 6347460"/>
              <a:gd name="connsiteY13" fmla="*/ 3886200 h 3886200"/>
              <a:gd name="connsiteX14" fmla="*/ 990600 w 6347460"/>
              <a:gd name="connsiteY14" fmla="*/ 3688080 h 3886200"/>
              <a:gd name="connsiteX15" fmla="*/ 1013460 w 6347460"/>
              <a:gd name="connsiteY15" fmla="*/ 1798320 h 3886200"/>
              <a:gd name="connsiteX16" fmla="*/ 0 w 6347460"/>
              <a:gd name="connsiteY16" fmla="*/ 617220 h 3886200"/>
              <a:gd name="connsiteX0" fmla="*/ 0 w 6347460"/>
              <a:gd name="connsiteY0" fmla="*/ 617220 h 3886200"/>
              <a:gd name="connsiteX1" fmla="*/ 2118360 w 6347460"/>
              <a:gd name="connsiteY1" fmla="*/ 487680 h 3886200"/>
              <a:gd name="connsiteX2" fmla="*/ 2232660 w 6347460"/>
              <a:gd name="connsiteY2" fmla="*/ 0 h 3886200"/>
              <a:gd name="connsiteX3" fmla="*/ 2545080 w 6347460"/>
              <a:gd name="connsiteY3" fmla="*/ 7620 h 3886200"/>
              <a:gd name="connsiteX4" fmla="*/ 2628900 w 6347460"/>
              <a:gd name="connsiteY4" fmla="*/ 396240 h 3886200"/>
              <a:gd name="connsiteX5" fmla="*/ 2994660 w 6347460"/>
              <a:gd name="connsiteY5" fmla="*/ 426720 h 3886200"/>
              <a:gd name="connsiteX6" fmla="*/ 3589020 w 6347460"/>
              <a:gd name="connsiteY6" fmla="*/ 464820 h 3886200"/>
              <a:gd name="connsiteX7" fmla="*/ 3794760 w 6347460"/>
              <a:gd name="connsiteY7" fmla="*/ 502920 h 3886200"/>
              <a:gd name="connsiteX8" fmla="*/ 4069080 w 6347460"/>
              <a:gd name="connsiteY8" fmla="*/ 533400 h 3886200"/>
              <a:gd name="connsiteX9" fmla="*/ 4076700 w 6347460"/>
              <a:gd name="connsiteY9" fmla="*/ 777240 h 3886200"/>
              <a:gd name="connsiteX10" fmla="*/ 4168140 w 6347460"/>
              <a:gd name="connsiteY10" fmla="*/ 1409700 h 3886200"/>
              <a:gd name="connsiteX11" fmla="*/ 6347460 w 6347460"/>
              <a:gd name="connsiteY11" fmla="*/ 1676400 h 3886200"/>
              <a:gd name="connsiteX12" fmla="*/ 2552700 w 6347460"/>
              <a:gd name="connsiteY12" fmla="*/ 1638300 h 3886200"/>
              <a:gd name="connsiteX13" fmla="*/ 1798320 w 6347460"/>
              <a:gd name="connsiteY13" fmla="*/ 3886200 h 3886200"/>
              <a:gd name="connsiteX14" fmla="*/ 967740 w 6347460"/>
              <a:gd name="connsiteY14" fmla="*/ 3672840 h 3886200"/>
              <a:gd name="connsiteX15" fmla="*/ 1013460 w 6347460"/>
              <a:gd name="connsiteY15" fmla="*/ 1798320 h 3886200"/>
              <a:gd name="connsiteX16" fmla="*/ 0 w 6347460"/>
              <a:gd name="connsiteY16" fmla="*/ 617220 h 3886200"/>
              <a:gd name="connsiteX0" fmla="*/ 0 w 6347460"/>
              <a:gd name="connsiteY0" fmla="*/ 617220 h 3886200"/>
              <a:gd name="connsiteX1" fmla="*/ 2118360 w 6347460"/>
              <a:gd name="connsiteY1" fmla="*/ 487680 h 3886200"/>
              <a:gd name="connsiteX2" fmla="*/ 2232660 w 6347460"/>
              <a:gd name="connsiteY2" fmla="*/ 0 h 3886200"/>
              <a:gd name="connsiteX3" fmla="*/ 2545080 w 6347460"/>
              <a:gd name="connsiteY3" fmla="*/ 7620 h 3886200"/>
              <a:gd name="connsiteX4" fmla="*/ 2628900 w 6347460"/>
              <a:gd name="connsiteY4" fmla="*/ 396240 h 3886200"/>
              <a:gd name="connsiteX5" fmla="*/ 2994660 w 6347460"/>
              <a:gd name="connsiteY5" fmla="*/ 426720 h 3886200"/>
              <a:gd name="connsiteX6" fmla="*/ 3589020 w 6347460"/>
              <a:gd name="connsiteY6" fmla="*/ 464820 h 3886200"/>
              <a:gd name="connsiteX7" fmla="*/ 3794760 w 6347460"/>
              <a:gd name="connsiteY7" fmla="*/ 502920 h 3886200"/>
              <a:gd name="connsiteX8" fmla="*/ 4069080 w 6347460"/>
              <a:gd name="connsiteY8" fmla="*/ 533400 h 3886200"/>
              <a:gd name="connsiteX9" fmla="*/ 4076700 w 6347460"/>
              <a:gd name="connsiteY9" fmla="*/ 777240 h 3886200"/>
              <a:gd name="connsiteX10" fmla="*/ 4168140 w 6347460"/>
              <a:gd name="connsiteY10" fmla="*/ 1409700 h 3886200"/>
              <a:gd name="connsiteX11" fmla="*/ 6347460 w 6347460"/>
              <a:gd name="connsiteY11" fmla="*/ 1676400 h 3886200"/>
              <a:gd name="connsiteX12" fmla="*/ 2552700 w 6347460"/>
              <a:gd name="connsiteY12" fmla="*/ 1638300 h 3886200"/>
              <a:gd name="connsiteX13" fmla="*/ 1798320 w 6347460"/>
              <a:gd name="connsiteY13" fmla="*/ 3886200 h 3886200"/>
              <a:gd name="connsiteX14" fmla="*/ 967740 w 6347460"/>
              <a:gd name="connsiteY14" fmla="*/ 3672840 h 3886200"/>
              <a:gd name="connsiteX15" fmla="*/ 1013460 w 6347460"/>
              <a:gd name="connsiteY15" fmla="*/ 1798320 h 3886200"/>
              <a:gd name="connsiteX16" fmla="*/ 647700 w 6347460"/>
              <a:gd name="connsiteY16" fmla="*/ 1363980 h 3886200"/>
              <a:gd name="connsiteX17" fmla="*/ 0 w 6347460"/>
              <a:gd name="connsiteY17" fmla="*/ 617220 h 3886200"/>
              <a:gd name="connsiteX0" fmla="*/ 0 w 6347460"/>
              <a:gd name="connsiteY0" fmla="*/ 617220 h 3886200"/>
              <a:gd name="connsiteX1" fmla="*/ 2118360 w 6347460"/>
              <a:gd name="connsiteY1" fmla="*/ 487680 h 3886200"/>
              <a:gd name="connsiteX2" fmla="*/ 2232660 w 6347460"/>
              <a:gd name="connsiteY2" fmla="*/ 0 h 3886200"/>
              <a:gd name="connsiteX3" fmla="*/ 2545080 w 6347460"/>
              <a:gd name="connsiteY3" fmla="*/ 7620 h 3886200"/>
              <a:gd name="connsiteX4" fmla="*/ 2628900 w 6347460"/>
              <a:gd name="connsiteY4" fmla="*/ 396240 h 3886200"/>
              <a:gd name="connsiteX5" fmla="*/ 2994660 w 6347460"/>
              <a:gd name="connsiteY5" fmla="*/ 426720 h 3886200"/>
              <a:gd name="connsiteX6" fmla="*/ 3589020 w 6347460"/>
              <a:gd name="connsiteY6" fmla="*/ 464820 h 3886200"/>
              <a:gd name="connsiteX7" fmla="*/ 3794760 w 6347460"/>
              <a:gd name="connsiteY7" fmla="*/ 502920 h 3886200"/>
              <a:gd name="connsiteX8" fmla="*/ 4069080 w 6347460"/>
              <a:gd name="connsiteY8" fmla="*/ 533400 h 3886200"/>
              <a:gd name="connsiteX9" fmla="*/ 4076700 w 6347460"/>
              <a:gd name="connsiteY9" fmla="*/ 777240 h 3886200"/>
              <a:gd name="connsiteX10" fmla="*/ 4168140 w 6347460"/>
              <a:gd name="connsiteY10" fmla="*/ 1409700 h 3886200"/>
              <a:gd name="connsiteX11" fmla="*/ 6347460 w 6347460"/>
              <a:gd name="connsiteY11" fmla="*/ 1676400 h 3886200"/>
              <a:gd name="connsiteX12" fmla="*/ 2552700 w 6347460"/>
              <a:gd name="connsiteY12" fmla="*/ 1638300 h 3886200"/>
              <a:gd name="connsiteX13" fmla="*/ 1798320 w 6347460"/>
              <a:gd name="connsiteY13" fmla="*/ 3886200 h 3886200"/>
              <a:gd name="connsiteX14" fmla="*/ 967740 w 6347460"/>
              <a:gd name="connsiteY14" fmla="*/ 3672840 h 3886200"/>
              <a:gd name="connsiteX15" fmla="*/ 1013460 w 6347460"/>
              <a:gd name="connsiteY15" fmla="*/ 1798320 h 3886200"/>
              <a:gd name="connsiteX16" fmla="*/ 647700 w 6347460"/>
              <a:gd name="connsiteY16" fmla="*/ 1363980 h 3886200"/>
              <a:gd name="connsiteX17" fmla="*/ 0 w 6347460"/>
              <a:gd name="connsiteY17" fmla="*/ 617220 h 3886200"/>
              <a:gd name="connsiteX0" fmla="*/ 0 w 6347460"/>
              <a:gd name="connsiteY0" fmla="*/ 617220 h 3886200"/>
              <a:gd name="connsiteX1" fmla="*/ 2118360 w 6347460"/>
              <a:gd name="connsiteY1" fmla="*/ 487680 h 3886200"/>
              <a:gd name="connsiteX2" fmla="*/ 2232660 w 6347460"/>
              <a:gd name="connsiteY2" fmla="*/ 0 h 3886200"/>
              <a:gd name="connsiteX3" fmla="*/ 2545080 w 6347460"/>
              <a:gd name="connsiteY3" fmla="*/ 7620 h 3886200"/>
              <a:gd name="connsiteX4" fmla="*/ 2628900 w 6347460"/>
              <a:gd name="connsiteY4" fmla="*/ 396240 h 3886200"/>
              <a:gd name="connsiteX5" fmla="*/ 2994660 w 6347460"/>
              <a:gd name="connsiteY5" fmla="*/ 426720 h 3886200"/>
              <a:gd name="connsiteX6" fmla="*/ 3589020 w 6347460"/>
              <a:gd name="connsiteY6" fmla="*/ 464820 h 3886200"/>
              <a:gd name="connsiteX7" fmla="*/ 3794760 w 6347460"/>
              <a:gd name="connsiteY7" fmla="*/ 502920 h 3886200"/>
              <a:gd name="connsiteX8" fmla="*/ 4069080 w 6347460"/>
              <a:gd name="connsiteY8" fmla="*/ 533400 h 3886200"/>
              <a:gd name="connsiteX9" fmla="*/ 4076700 w 6347460"/>
              <a:gd name="connsiteY9" fmla="*/ 777240 h 3886200"/>
              <a:gd name="connsiteX10" fmla="*/ 4168140 w 6347460"/>
              <a:gd name="connsiteY10" fmla="*/ 1409700 h 3886200"/>
              <a:gd name="connsiteX11" fmla="*/ 6347460 w 6347460"/>
              <a:gd name="connsiteY11" fmla="*/ 1676400 h 3886200"/>
              <a:gd name="connsiteX12" fmla="*/ 2552700 w 6347460"/>
              <a:gd name="connsiteY12" fmla="*/ 1638300 h 3886200"/>
              <a:gd name="connsiteX13" fmla="*/ 1798320 w 6347460"/>
              <a:gd name="connsiteY13" fmla="*/ 3886200 h 3886200"/>
              <a:gd name="connsiteX14" fmla="*/ 967740 w 6347460"/>
              <a:gd name="connsiteY14" fmla="*/ 3672840 h 3886200"/>
              <a:gd name="connsiteX15" fmla="*/ 1013460 w 6347460"/>
              <a:gd name="connsiteY15" fmla="*/ 1798320 h 3886200"/>
              <a:gd name="connsiteX16" fmla="*/ 731520 w 6347460"/>
              <a:gd name="connsiteY16" fmla="*/ 845820 h 3886200"/>
              <a:gd name="connsiteX17" fmla="*/ 0 w 6347460"/>
              <a:gd name="connsiteY17" fmla="*/ 617220 h 3886200"/>
              <a:gd name="connsiteX0" fmla="*/ 0 w 6347460"/>
              <a:gd name="connsiteY0" fmla="*/ 617220 h 3886200"/>
              <a:gd name="connsiteX1" fmla="*/ 2118360 w 6347460"/>
              <a:gd name="connsiteY1" fmla="*/ 487680 h 3886200"/>
              <a:gd name="connsiteX2" fmla="*/ 2232660 w 6347460"/>
              <a:gd name="connsiteY2" fmla="*/ 0 h 3886200"/>
              <a:gd name="connsiteX3" fmla="*/ 2545080 w 6347460"/>
              <a:gd name="connsiteY3" fmla="*/ 7620 h 3886200"/>
              <a:gd name="connsiteX4" fmla="*/ 2628900 w 6347460"/>
              <a:gd name="connsiteY4" fmla="*/ 396240 h 3886200"/>
              <a:gd name="connsiteX5" fmla="*/ 2994660 w 6347460"/>
              <a:gd name="connsiteY5" fmla="*/ 426720 h 3886200"/>
              <a:gd name="connsiteX6" fmla="*/ 3589020 w 6347460"/>
              <a:gd name="connsiteY6" fmla="*/ 464820 h 3886200"/>
              <a:gd name="connsiteX7" fmla="*/ 3794760 w 6347460"/>
              <a:gd name="connsiteY7" fmla="*/ 502920 h 3886200"/>
              <a:gd name="connsiteX8" fmla="*/ 4069080 w 6347460"/>
              <a:gd name="connsiteY8" fmla="*/ 533400 h 3886200"/>
              <a:gd name="connsiteX9" fmla="*/ 4076700 w 6347460"/>
              <a:gd name="connsiteY9" fmla="*/ 777240 h 3886200"/>
              <a:gd name="connsiteX10" fmla="*/ 4168140 w 6347460"/>
              <a:gd name="connsiteY10" fmla="*/ 1409700 h 3886200"/>
              <a:gd name="connsiteX11" fmla="*/ 6347460 w 6347460"/>
              <a:gd name="connsiteY11" fmla="*/ 1676400 h 3886200"/>
              <a:gd name="connsiteX12" fmla="*/ 2552700 w 6347460"/>
              <a:gd name="connsiteY12" fmla="*/ 1638300 h 3886200"/>
              <a:gd name="connsiteX13" fmla="*/ 1798320 w 6347460"/>
              <a:gd name="connsiteY13" fmla="*/ 3886200 h 3886200"/>
              <a:gd name="connsiteX14" fmla="*/ 967740 w 6347460"/>
              <a:gd name="connsiteY14" fmla="*/ 3672840 h 3886200"/>
              <a:gd name="connsiteX15" fmla="*/ 1013460 w 6347460"/>
              <a:gd name="connsiteY15" fmla="*/ 1798320 h 3886200"/>
              <a:gd name="connsiteX16" fmla="*/ 731520 w 6347460"/>
              <a:gd name="connsiteY16" fmla="*/ 845820 h 3886200"/>
              <a:gd name="connsiteX17" fmla="*/ 0 w 6347460"/>
              <a:gd name="connsiteY17" fmla="*/ 617220 h 3886200"/>
              <a:gd name="connsiteX0" fmla="*/ 0 w 6347460"/>
              <a:gd name="connsiteY0" fmla="*/ 617220 h 3886200"/>
              <a:gd name="connsiteX1" fmla="*/ 2118360 w 6347460"/>
              <a:gd name="connsiteY1" fmla="*/ 487680 h 3886200"/>
              <a:gd name="connsiteX2" fmla="*/ 2232660 w 6347460"/>
              <a:gd name="connsiteY2" fmla="*/ 0 h 3886200"/>
              <a:gd name="connsiteX3" fmla="*/ 2545080 w 6347460"/>
              <a:gd name="connsiteY3" fmla="*/ 7620 h 3886200"/>
              <a:gd name="connsiteX4" fmla="*/ 2628900 w 6347460"/>
              <a:gd name="connsiteY4" fmla="*/ 396240 h 3886200"/>
              <a:gd name="connsiteX5" fmla="*/ 2994660 w 6347460"/>
              <a:gd name="connsiteY5" fmla="*/ 426720 h 3886200"/>
              <a:gd name="connsiteX6" fmla="*/ 3589020 w 6347460"/>
              <a:gd name="connsiteY6" fmla="*/ 464820 h 3886200"/>
              <a:gd name="connsiteX7" fmla="*/ 3794760 w 6347460"/>
              <a:gd name="connsiteY7" fmla="*/ 502920 h 3886200"/>
              <a:gd name="connsiteX8" fmla="*/ 4069080 w 6347460"/>
              <a:gd name="connsiteY8" fmla="*/ 533400 h 3886200"/>
              <a:gd name="connsiteX9" fmla="*/ 4076700 w 6347460"/>
              <a:gd name="connsiteY9" fmla="*/ 777240 h 3886200"/>
              <a:gd name="connsiteX10" fmla="*/ 4168140 w 6347460"/>
              <a:gd name="connsiteY10" fmla="*/ 1409700 h 3886200"/>
              <a:gd name="connsiteX11" fmla="*/ 6347460 w 6347460"/>
              <a:gd name="connsiteY11" fmla="*/ 1676400 h 3886200"/>
              <a:gd name="connsiteX12" fmla="*/ 2552700 w 6347460"/>
              <a:gd name="connsiteY12" fmla="*/ 1638300 h 3886200"/>
              <a:gd name="connsiteX13" fmla="*/ 1798320 w 6347460"/>
              <a:gd name="connsiteY13" fmla="*/ 3886200 h 3886200"/>
              <a:gd name="connsiteX14" fmla="*/ 967740 w 6347460"/>
              <a:gd name="connsiteY14" fmla="*/ 3672840 h 3886200"/>
              <a:gd name="connsiteX15" fmla="*/ 1013460 w 6347460"/>
              <a:gd name="connsiteY15" fmla="*/ 1798320 h 3886200"/>
              <a:gd name="connsiteX16" fmla="*/ 731520 w 6347460"/>
              <a:gd name="connsiteY16" fmla="*/ 845820 h 3886200"/>
              <a:gd name="connsiteX17" fmla="*/ 0 w 6347460"/>
              <a:gd name="connsiteY17" fmla="*/ 617220 h 3886200"/>
              <a:gd name="connsiteX0" fmla="*/ 0 w 6347460"/>
              <a:gd name="connsiteY0" fmla="*/ 617220 h 3886200"/>
              <a:gd name="connsiteX1" fmla="*/ 2118360 w 6347460"/>
              <a:gd name="connsiteY1" fmla="*/ 487680 h 3886200"/>
              <a:gd name="connsiteX2" fmla="*/ 2232660 w 6347460"/>
              <a:gd name="connsiteY2" fmla="*/ 0 h 3886200"/>
              <a:gd name="connsiteX3" fmla="*/ 2545080 w 6347460"/>
              <a:gd name="connsiteY3" fmla="*/ 7620 h 3886200"/>
              <a:gd name="connsiteX4" fmla="*/ 2628900 w 6347460"/>
              <a:gd name="connsiteY4" fmla="*/ 396240 h 3886200"/>
              <a:gd name="connsiteX5" fmla="*/ 2994660 w 6347460"/>
              <a:gd name="connsiteY5" fmla="*/ 426720 h 3886200"/>
              <a:gd name="connsiteX6" fmla="*/ 3589020 w 6347460"/>
              <a:gd name="connsiteY6" fmla="*/ 464820 h 3886200"/>
              <a:gd name="connsiteX7" fmla="*/ 3794760 w 6347460"/>
              <a:gd name="connsiteY7" fmla="*/ 502920 h 3886200"/>
              <a:gd name="connsiteX8" fmla="*/ 4069080 w 6347460"/>
              <a:gd name="connsiteY8" fmla="*/ 533400 h 3886200"/>
              <a:gd name="connsiteX9" fmla="*/ 4076700 w 6347460"/>
              <a:gd name="connsiteY9" fmla="*/ 777240 h 3886200"/>
              <a:gd name="connsiteX10" fmla="*/ 4168140 w 6347460"/>
              <a:gd name="connsiteY10" fmla="*/ 1409700 h 3886200"/>
              <a:gd name="connsiteX11" fmla="*/ 6347460 w 6347460"/>
              <a:gd name="connsiteY11" fmla="*/ 1676400 h 3886200"/>
              <a:gd name="connsiteX12" fmla="*/ 2552700 w 6347460"/>
              <a:gd name="connsiteY12" fmla="*/ 1638300 h 3886200"/>
              <a:gd name="connsiteX13" fmla="*/ 1798320 w 6347460"/>
              <a:gd name="connsiteY13" fmla="*/ 3886200 h 3886200"/>
              <a:gd name="connsiteX14" fmla="*/ 967740 w 6347460"/>
              <a:gd name="connsiteY14" fmla="*/ 3672840 h 3886200"/>
              <a:gd name="connsiteX15" fmla="*/ 1013460 w 6347460"/>
              <a:gd name="connsiteY15" fmla="*/ 1798320 h 3886200"/>
              <a:gd name="connsiteX16" fmla="*/ 731520 w 6347460"/>
              <a:gd name="connsiteY16" fmla="*/ 845820 h 3886200"/>
              <a:gd name="connsiteX17" fmla="*/ 0 w 6347460"/>
              <a:gd name="connsiteY17" fmla="*/ 617220 h 3886200"/>
              <a:gd name="connsiteX0" fmla="*/ 0 w 6347460"/>
              <a:gd name="connsiteY0" fmla="*/ 617220 h 3886200"/>
              <a:gd name="connsiteX1" fmla="*/ 2118360 w 6347460"/>
              <a:gd name="connsiteY1" fmla="*/ 487680 h 3886200"/>
              <a:gd name="connsiteX2" fmla="*/ 2232660 w 6347460"/>
              <a:gd name="connsiteY2" fmla="*/ 0 h 3886200"/>
              <a:gd name="connsiteX3" fmla="*/ 2545080 w 6347460"/>
              <a:gd name="connsiteY3" fmla="*/ 7620 h 3886200"/>
              <a:gd name="connsiteX4" fmla="*/ 2628900 w 6347460"/>
              <a:gd name="connsiteY4" fmla="*/ 396240 h 3886200"/>
              <a:gd name="connsiteX5" fmla="*/ 2994660 w 6347460"/>
              <a:gd name="connsiteY5" fmla="*/ 426720 h 3886200"/>
              <a:gd name="connsiteX6" fmla="*/ 3589020 w 6347460"/>
              <a:gd name="connsiteY6" fmla="*/ 464820 h 3886200"/>
              <a:gd name="connsiteX7" fmla="*/ 3794760 w 6347460"/>
              <a:gd name="connsiteY7" fmla="*/ 502920 h 3886200"/>
              <a:gd name="connsiteX8" fmla="*/ 4069080 w 6347460"/>
              <a:gd name="connsiteY8" fmla="*/ 533400 h 3886200"/>
              <a:gd name="connsiteX9" fmla="*/ 4076700 w 6347460"/>
              <a:gd name="connsiteY9" fmla="*/ 777240 h 3886200"/>
              <a:gd name="connsiteX10" fmla="*/ 4168140 w 6347460"/>
              <a:gd name="connsiteY10" fmla="*/ 1409700 h 3886200"/>
              <a:gd name="connsiteX11" fmla="*/ 6347460 w 6347460"/>
              <a:gd name="connsiteY11" fmla="*/ 1676400 h 3886200"/>
              <a:gd name="connsiteX12" fmla="*/ 2552700 w 6347460"/>
              <a:gd name="connsiteY12" fmla="*/ 1638300 h 3886200"/>
              <a:gd name="connsiteX13" fmla="*/ 1798320 w 6347460"/>
              <a:gd name="connsiteY13" fmla="*/ 3886200 h 3886200"/>
              <a:gd name="connsiteX14" fmla="*/ 967740 w 6347460"/>
              <a:gd name="connsiteY14" fmla="*/ 3672840 h 3886200"/>
              <a:gd name="connsiteX15" fmla="*/ 1013460 w 6347460"/>
              <a:gd name="connsiteY15" fmla="*/ 1798320 h 3886200"/>
              <a:gd name="connsiteX16" fmla="*/ 769620 w 6347460"/>
              <a:gd name="connsiteY16" fmla="*/ 883920 h 3886200"/>
              <a:gd name="connsiteX17" fmla="*/ 0 w 6347460"/>
              <a:gd name="connsiteY17" fmla="*/ 617220 h 3886200"/>
              <a:gd name="connsiteX0" fmla="*/ 0 w 6347460"/>
              <a:gd name="connsiteY0" fmla="*/ 617220 h 3886200"/>
              <a:gd name="connsiteX1" fmla="*/ 2118360 w 6347460"/>
              <a:gd name="connsiteY1" fmla="*/ 487680 h 3886200"/>
              <a:gd name="connsiteX2" fmla="*/ 2232660 w 6347460"/>
              <a:gd name="connsiteY2" fmla="*/ 0 h 3886200"/>
              <a:gd name="connsiteX3" fmla="*/ 2545080 w 6347460"/>
              <a:gd name="connsiteY3" fmla="*/ 7620 h 3886200"/>
              <a:gd name="connsiteX4" fmla="*/ 2628900 w 6347460"/>
              <a:gd name="connsiteY4" fmla="*/ 396240 h 3886200"/>
              <a:gd name="connsiteX5" fmla="*/ 2994660 w 6347460"/>
              <a:gd name="connsiteY5" fmla="*/ 426720 h 3886200"/>
              <a:gd name="connsiteX6" fmla="*/ 3589020 w 6347460"/>
              <a:gd name="connsiteY6" fmla="*/ 464820 h 3886200"/>
              <a:gd name="connsiteX7" fmla="*/ 3794760 w 6347460"/>
              <a:gd name="connsiteY7" fmla="*/ 502920 h 3886200"/>
              <a:gd name="connsiteX8" fmla="*/ 4069080 w 6347460"/>
              <a:gd name="connsiteY8" fmla="*/ 533400 h 3886200"/>
              <a:gd name="connsiteX9" fmla="*/ 4076700 w 6347460"/>
              <a:gd name="connsiteY9" fmla="*/ 777240 h 3886200"/>
              <a:gd name="connsiteX10" fmla="*/ 4168140 w 6347460"/>
              <a:gd name="connsiteY10" fmla="*/ 1409700 h 3886200"/>
              <a:gd name="connsiteX11" fmla="*/ 6347460 w 6347460"/>
              <a:gd name="connsiteY11" fmla="*/ 1676400 h 3886200"/>
              <a:gd name="connsiteX12" fmla="*/ 2552700 w 6347460"/>
              <a:gd name="connsiteY12" fmla="*/ 1638300 h 3886200"/>
              <a:gd name="connsiteX13" fmla="*/ 1798320 w 6347460"/>
              <a:gd name="connsiteY13" fmla="*/ 3886200 h 3886200"/>
              <a:gd name="connsiteX14" fmla="*/ 967740 w 6347460"/>
              <a:gd name="connsiteY14" fmla="*/ 3672840 h 3886200"/>
              <a:gd name="connsiteX15" fmla="*/ 1013460 w 6347460"/>
              <a:gd name="connsiteY15" fmla="*/ 1798320 h 3886200"/>
              <a:gd name="connsiteX16" fmla="*/ 769620 w 6347460"/>
              <a:gd name="connsiteY16" fmla="*/ 883920 h 3886200"/>
              <a:gd name="connsiteX17" fmla="*/ 320040 w 6347460"/>
              <a:gd name="connsiteY17" fmla="*/ 731520 h 3886200"/>
              <a:gd name="connsiteX18" fmla="*/ 0 w 6347460"/>
              <a:gd name="connsiteY18" fmla="*/ 617220 h 3886200"/>
              <a:gd name="connsiteX0" fmla="*/ 22860 w 6370320"/>
              <a:gd name="connsiteY0" fmla="*/ 617220 h 3886200"/>
              <a:gd name="connsiteX1" fmla="*/ 2141220 w 6370320"/>
              <a:gd name="connsiteY1" fmla="*/ 487680 h 3886200"/>
              <a:gd name="connsiteX2" fmla="*/ 2255520 w 6370320"/>
              <a:gd name="connsiteY2" fmla="*/ 0 h 3886200"/>
              <a:gd name="connsiteX3" fmla="*/ 2567940 w 6370320"/>
              <a:gd name="connsiteY3" fmla="*/ 7620 h 3886200"/>
              <a:gd name="connsiteX4" fmla="*/ 2651760 w 6370320"/>
              <a:gd name="connsiteY4" fmla="*/ 396240 h 3886200"/>
              <a:gd name="connsiteX5" fmla="*/ 3017520 w 6370320"/>
              <a:gd name="connsiteY5" fmla="*/ 426720 h 3886200"/>
              <a:gd name="connsiteX6" fmla="*/ 3611880 w 6370320"/>
              <a:gd name="connsiteY6" fmla="*/ 464820 h 3886200"/>
              <a:gd name="connsiteX7" fmla="*/ 3817620 w 6370320"/>
              <a:gd name="connsiteY7" fmla="*/ 502920 h 3886200"/>
              <a:gd name="connsiteX8" fmla="*/ 4091940 w 6370320"/>
              <a:gd name="connsiteY8" fmla="*/ 533400 h 3886200"/>
              <a:gd name="connsiteX9" fmla="*/ 4099560 w 6370320"/>
              <a:gd name="connsiteY9" fmla="*/ 777240 h 3886200"/>
              <a:gd name="connsiteX10" fmla="*/ 4191000 w 6370320"/>
              <a:gd name="connsiteY10" fmla="*/ 1409700 h 3886200"/>
              <a:gd name="connsiteX11" fmla="*/ 6370320 w 6370320"/>
              <a:gd name="connsiteY11" fmla="*/ 1676400 h 3886200"/>
              <a:gd name="connsiteX12" fmla="*/ 2575560 w 6370320"/>
              <a:gd name="connsiteY12" fmla="*/ 1638300 h 3886200"/>
              <a:gd name="connsiteX13" fmla="*/ 1821180 w 6370320"/>
              <a:gd name="connsiteY13" fmla="*/ 3886200 h 3886200"/>
              <a:gd name="connsiteX14" fmla="*/ 990600 w 6370320"/>
              <a:gd name="connsiteY14" fmla="*/ 3672840 h 3886200"/>
              <a:gd name="connsiteX15" fmla="*/ 1036320 w 6370320"/>
              <a:gd name="connsiteY15" fmla="*/ 1798320 h 3886200"/>
              <a:gd name="connsiteX16" fmla="*/ 792480 w 6370320"/>
              <a:gd name="connsiteY16" fmla="*/ 883920 h 3886200"/>
              <a:gd name="connsiteX17" fmla="*/ 0 w 6370320"/>
              <a:gd name="connsiteY17" fmla="*/ 906780 h 3886200"/>
              <a:gd name="connsiteX18" fmla="*/ 22860 w 6370320"/>
              <a:gd name="connsiteY18" fmla="*/ 617220 h 3886200"/>
              <a:gd name="connsiteX0" fmla="*/ 22860 w 6370320"/>
              <a:gd name="connsiteY0" fmla="*/ 617220 h 3886200"/>
              <a:gd name="connsiteX1" fmla="*/ 2141220 w 6370320"/>
              <a:gd name="connsiteY1" fmla="*/ 487680 h 3886200"/>
              <a:gd name="connsiteX2" fmla="*/ 2255520 w 6370320"/>
              <a:gd name="connsiteY2" fmla="*/ 0 h 3886200"/>
              <a:gd name="connsiteX3" fmla="*/ 2567940 w 6370320"/>
              <a:gd name="connsiteY3" fmla="*/ 7620 h 3886200"/>
              <a:gd name="connsiteX4" fmla="*/ 2651760 w 6370320"/>
              <a:gd name="connsiteY4" fmla="*/ 396240 h 3886200"/>
              <a:gd name="connsiteX5" fmla="*/ 3017520 w 6370320"/>
              <a:gd name="connsiteY5" fmla="*/ 426720 h 3886200"/>
              <a:gd name="connsiteX6" fmla="*/ 3611880 w 6370320"/>
              <a:gd name="connsiteY6" fmla="*/ 464820 h 3886200"/>
              <a:gd name="connsiteX7" fmla="*/ 3817620 w 6370320"/>
              <a:gd name="connsiteY7" fmla="*/ 502920 h 3886200"/>
              <a:gd name="connsiteX8" fmla="*/ 4091940 w 6370320"/>
              <a:gd name="connsiteY8" fmla="*/ 533400 h 3886200"/>
              <a:gd name="connsiteX9" fmla="*/ 4099560 w 6370320"/>
              <a:gd name="connsiteY9" fmla="*/ 777240 h 3886200"/>
              <a:gd name="connsiteX10" fmla="*/ 4191000 w 6370320"/>
              <a:gd name="connsiteY10" fmla="*/ 1409700 h 3886200"/>
              <a:gd name="connsiteX11" fmla="*/ 6370320 w 6370320"/>
              <a:gd name="connsiteY11" fmla="*/ 1676400 h 3886200"/>
              <a:gd name="connsiteX12" fmla="*/ 2575560 w 6370320"/>
              <a:gd name="connsiteY12" fmla="*/ 1638300 h 3886200"/>
              <a:gd name="connsiteX13" fmla="*/ 1821180 w 6370320"/>
              <a:gd name="connsiteY13" fmla="*/ 3886200 h 3886200"/>
              <a:gd name="connsiteX14" fmla="*/ 990600 w 6370320"/>
              <a:gd name="connsiteY14" fmla="*/ 3672840 h 3886200"/>
              <a:gd name="connsiteX15" fmla="*/ 1036320 w 6370320"/>
              <a:gd name="connsiteY15" fmla="*/ 1798320 h 3886200"/>
              <a:gd name="connsiteX16" fmla="*/ 807720 w 6370320"/>
              <a:gd name="connsiteY16" fmla="*/ 891540 h 3886200"/>
              <a:gd name="connsiteX17" fmla="*/ 0 w 6370320"/>
              <a:gd name="connsiteY17" fmla="*/ 906780 h 3886200"/>
              <a:gd name="connsiteX18" fmla="*/ 22860 w 6370320"/>
              <a:gd name="connsiteY18" fmla="*/ 617220 h 3886200"/>
              <a:gd name="connsiteX0" fmla="*/ 22860 w 6370320"/>
              <a:gd name="connsiteY0" fmla="*/ 617220 h 3886200"/>
              <a:gd name="connsiteX1" fmla="*/ 2141220 w 6370320"/>
              <a:gd name="connsiteY1" fmla="*/ 487680 h 3886200"/>
              <a:gd name="connsiteX2" fmla="*/ 2255520 w 6370320"/>
              <a:gd name="connsiteY2" fmla="*/ 0 h 3886200"/>
              <a:gd name="connsiteX3" fmla="*/ 2567940 w 6370320"/>
              <a:gd name="connsiteY3" fmla="*/ 7620 h 3886200"/>
              <a:gd name="connsiteX4" fmla="*/ 2651760 w 6370320"/>
              <a:gd name="connsiteY4" fmla="*/ 396240 h 3886200"/>
              <a:gd name="connsiteX5" fmla="*/ 3017520 w 6370320"/>
              <a:gd name="connsiteY5" fmla="*/ 426720 h 3886200"/>
              <a:gd name="connsiteX6" fmla="*/ 3611880 w 6370320"/>
              <a:gd name="connsiteY6" fmla="*/ 464820 h 3886200"/>
              <a:gd name="connsiteX7" fmla="*/ 3817620 w 6370320"/>
              <a:gd name="connsiteY7" fmla="*/ 502920 h 3886200"/>
              <a:gd name="connsiteX8" fmla="*/ 4091940 w 6370320"/>
              <a:gd name="connsiteY8" fmla="*/ 533400 h 3886200"/>
              <a:gd name="connsiteX9" fmla="*/ 4099560 w 6370320"/>
              <a:gd name="connsiteY9" fmla="*/ 777240 h 3886200"/>
              <a:gd name="connsiteX10" fmla="*/ 4191000 w 6370320"/>
              <a:gd name="connsiteY10" fmla="*/ 1409700 h 3886200"/>
              <a:gd name="connsiteX11" fmla="*/ 6370320 w 6370320"/>
              <a:gd name="connsiteY11" fmla="*/ 1676400 h 3886200"/>
              <a:gd name="connsiteX12" fmla="*/ 2575560 w 6370320"/>
              <a:gd name="connsiteY12" fmla="*/ 1638300 h 3886200"/>
              <a:gd name="connsiteX13" fmla="*/ 1821180 w 6370320"/>
              <a:gd name="connsiteY13" fmla="*/ 3886200 h 3886200"/>
              <a:gd name="connsiteX14" fmla="*/ 990600 w 6370320"/>
              <a:gd name="connsiteY14" fmla="*/ 3672840 h 3886200"/>
              <a:gd name="connsiteX15" fmla="*/ 1036320 w 6370320"/>
              <a:gd name="connsiteY15" fmla="*/ 1798320 h 3886200"/>
              <a:gd name="connsiteX16" fmla="*/ 807720 w 6370320"/>
              <a:gd name="connsiteY16" fmla="*/ 891540 h 3886200"/>
              <a:gd name="connsiteX17" fmla="*/ 487680 w 6370320"/>
              <a:gd name="connsiteY17" fmla="*/ 815340 h 3886200"/>
              <a:gd name="connsiteX18" fmla="*/ 0 w 6370320"/>
              <a:gd name="connsiteY18" fmla="*/ 906780 h 3886200"/>
              <a:gd name="connsiteX19" fmla="*/ 22860 w 6370320"/>
              <a:gd name="connsiteY19" fmla="*/ 617220 h 3886200"/>
              <a:gd name="connsiteX0" fmla="*/ 22860 w 6370320"/>
              <a:gd name="connsiteY0" fmla="*/ 617220 h 3886200"/>
              <a:gd name="connsiteX1" fmla="*/ 2141220 w 6370320"/>
              <a:gd name="connsiteY1" fmla="*/ 487680 h 3886200"/>
              <a:gd name="connsiteX2" fmla="*/ 2255520 w 6370320"/>
              <a:gd name="connsiteY2" fmla="*/ 0 h 3886200"/>
              <a:gd name="connsiteX3" fmla="*/ 2567940 w 6370320"/>
              <a:gd name="connsiteY3" fmla="*/ 7620 h 3886200"/>
              <a:gd name="connsiteX4" fmla="*/ 2651760 w 6370320"/>
              <a:gd name="connsiteY4" fmla="*/ 396240 h 3886200"/>
              <a:gd name="connsiteX5" fmla="*/ 3017520 w 6370320"/>
              <a:gd name="connsiteY5" fmla="*/ 426720 h 3886200"/>
              <a:gd name="connsiteX6" fmla="*/ 3611880 w 6370320"/>
              <a:gd name="connsiteY6" fmla="*/ 464820 h 3886200"/>
              <a:gd name="connsiteX7" fmla="*/ 3817620 w 6370320"/>
              <a:gd name="connsiteY7" fmla="*/ 502920 h 3886200"/>
              <a:gd name="connsiteX8" fmla="*/ 4091940 w 6370320"/>
              <a:gd name="connsiteY8" fmla="*/ 533400 h 3886200"/>
              <a:gd name="connsiteX9" fmla="*/ 4099560 w 6370320"/>
              <a:gd name="connsiteY9" fmla="*/ 777240 h 3886200"/>
              <a:gd name="connsiteX10" fmla="*/ 4191000 w 6370320"/>
              <a:gd name="connsiteY10" fmla="*/ 1409700 h 3886200"/>
              <a:gd name="connsiteX11" fmla="*/ 6370320 w 6370320"/>
              <a:gd name="connsiteY11" fmla="*/ 1676400 h 3886200"/>
              <a:gd name="connsiteX12" fmla="*/ 2575560 w 6370320"/>
              <a:gd name="connsiteY12" fmla="*/ 1638300 h 3886200"/>
              <a:gd name="connsiteX13" fmla="*/ 1821180 w 6370320"/>
              <a:gd name="connsiteY13" fmla="*/ 3886200 h 3886200"/>
              <a:gd name="connsiteX14" fmla="*/ 990600 w 6370320"/>
              <a:gd name="connsiteY14" fmla="*/ 3672840 h 3886200"/>
              <a:gd name="connsiteX15" fmla="*/ 1036320 w 6370320"/>
              <a:gd name="connsiteY15" fmla="*/ 1798320 h 3886200"/>
              <a:gd name="connsiteX16" fmla="*/ 807720 w 6370320"/>
              <a:gd name="connsiteY16" fmla="*/ 891540 h 3886200"/>
              <a:gd name="connsiteX17" fmla="*/ 487680 w 6370320"/>
              <a:gd name="connsiteY17" fmla="*/ 815340 h 3886200"/>
              <a:gd name="connsiteX18" fmla="*/ 0 w 6370320"/>
              <a:gd name="connsiteY18" fmla="*/ 906780 h 3886200"/>
              <a:gd name="connsiteX19" fmla="*/ 22860 w 6370320"/>
              <a:gd name="connsiteY19" fmla="*/ 617220 h 3886200"/>
              <a:gd name="connsiteX0" fmla="*/ 22860 w 6370320"/>
              <a:gd name="connsiteY0" fmla="*/ 617220 h 3886200"/>
              <a:gd name="connsiteX1" fmla="*/ 2141220 w 6370320"/>
              <a:gd name="connsiteY1" fmla="*/ 487680 h 3886200"/>
              <a:gd name="connsiteX2" fmla="*/ 2255520 w 6370320"/>
              <a:gd name="connsiteY2" fmla="*/ 0 h 3886200"/>
              <a:gd name="connsiteX3" fmla="*/ 2567940 w 6370320"/>
              <a:gd name="connsiteY3" fmla="*/ 7620 h 3886200"/>
              <a:gd name="connsiteX4" fmla="*/ 2651760 w 6370320"/>
              <a:gd name="connsiteY4" fmla="*/ 396240 h 3886200"/>
              <a:gd name="connsiteX5" fmla="*/ 3017520 w 6370320"/>
              <a:gd name="connsiteY5" fmla="*/ 426720 h 3886200"/>
              <a:gd name="connsiteX6" fmla="*/ 3611880 w 6370320"/>
              <a:gd name="connsiteY6" fmla="*/ 464820 h 3886200"/>
              <a:gd name="connsiteX7" fmla="*/ 3817620 w 6370320"/>
              <a:gd name="connsiteY7" fmla="*/ 502920 h 3886200"/>
              <a:gd name="connsiteX8" fmla="*/ 4091940 w 6370320"/>
              <a:gd name="connsiteY8" fmla="*/ 533400 h 3886200"/>
              <a:gd name="connsiteX9" fmla="*/ 4099560 w 6370320"/>
              <a:gd name="connsiteY9" fmla="*/ 777240 h 3886200"/>
              <a:gd name="connsiteX10" fmla="*/ 4191000 w 6370320"/>
              <a:gd name="connsiteY10" fmla="*/ 1409700 h 3886200"/>
              <a:gd name="connsiteX11" fmla="*/ 6370320 w 6370320"/>
              <a:gd name="connsiteY11" fmla="*/ 1676400 h 3886200"/>
              <a:gd name="connsiteX12" fmla="*/ 2575560 w 6370320"/>
              <a:gd name="connsiteY12" fmla="*/ 1638300 h 3886200"/>
              <a:gd name="connsiteX13" fmla="*/ 1821180 w 6370320"/>
              <a:gd name="connsiteY13" fmla="*/ 3886200 h 3886200"/>
              <a:gd name="connsiteX14" fmla="*/ 990600 w 6370320"/>
              <a:gd name="connsiteY14" fmla="*/ 3672840 h 3886200"/>
              <a:gd name="connsiteX15" fmla="*/ 1036320 w 6370320"/>
              <a:gd name="connsiteY15" fmla="*/ 1798320 h 3886200"/>
              <a:gd name="connsiteX16" fmla="*/ 807720 w 6370320"/>
              <a:gd name="connsiteY16" fmla="*/ 891540 h 3886200"/>
              <a:gd name="connsiteX17" fmla="*/ 487680 w 6370320"/>
              <a:gd name="connsiteY17" fmla="*/ 815340 h 3886200"/>
              <a:gd name="connsiteX18" fmla="*/ 0 w 6370320"/>
              <a:gd name="connsiteY18" fmla="*/ 906780 h 3886200"/>
              <a:gd name="connsiteX19" fmla="*/ 22860 w 6370320"/>
              <a:gd name="connsiteY19" fmla="*/ 617220 h 3886200"/>
              <a:gd name="connsiteX0" fmla="*/ 22860 w 6370320"/>
              <a:gd name="connsiteY0" fmla="*/ 617220 h 3886200"/>
              <a:gd name="connsiteX1" fmla="*/ 2141220 w 6370320"/>
              <a:gd name="connsiteY1" fmla="*/ 487680 h 3886200"/>
              <a:gd name="connsiteX2" fmla="*/ 2255520 w 6370320"/>
              <a:gd name="connsiteY2" fmla="*/ 0 h 3886200"/>
              <a:gd name="connsiteX3" fmla="*/ 2567940 w 6370320"/>
              <a:gd name="connsiteY3" fmla="*/ 7620 h 3886200"/>
              <a:gd name="connsiteX4" fmla="*/ 2651760 w 6370320"/>
              <a:gd name="connsiteY4" fmla="*/ 396240 h 3886200"/>
              <a:gd name="connsiteX5" fmla="*/ 3017520 w 6370320"/>
              <a:gd name="connsiteY5" fmla="*/ 426720 h 3886200"/>
              <a:gd name="connsiteX6" fmla="*/ 3611880 w 6370320"/>
              <a:gd name="connsiteY6" fmla="*/ 464820 h 3886200"/>
              <a:gd name="connsiteX7" fmla="*/ 3817620 w 6370320"/>
              <a:gd name="connsiteY7" fmla="*/ 502920 h 3886200"/>
              <a:gd name="connsiteX8" fmla="*/ 4091940 w 6370320"/>
              <a:gd name="connsiteY8" fmla="*/ 533400 h 3886200"/>
              <a:gd name="connsiteX9" fmla="*/ 4099560 w 6370320"/>
              <a:gd name="connsiteY9" fmla="*/ 777240 h 3886200"/>
              <a:gd name="connsiteX10" fmla="*/ 4191000 w 6370320"/>
              <a:gd name="connsiteY10" fmla="*/ 1409700 h 3886200"/>
              <a:gd name="connsiteX11" fmla="*/ 6370320 w 6370320"/>
              <a:gd name="connsiteY11" fmla="*/ 1676400 h 3886200"/>
              <a:gd name="connsiteX12" fmla="*/ 2575560 w 6370320"/>
              <a:gd name="connsiteY12" fmla="*/ 1638300 h 3886200"/>
              <a:gd name="connsiteX13" fmla="*/ 1821180 w 6370320"/>
              <a:gd name="connsiteY13" fmla="*/ 3886200 h 3886200"/>
              <a:gd name="connsiteX14" fmla="*/ 990600 w 6370320"/>
              <a:gd name="connsiteY14" fmla="*/ 3672840 h 3886200"/>
              <a:gd name="connsiteX15" fmla="*/ 1036320 w 6370320"/>
              <a:gd name="connsiteY15" fmla="*/ 1798320 h 3886200"/>
              <a:gd name="connsiteX16" fmla="*/ 807720 w 6370320"/>
              <a:gd name="connsiteY16" fmla="*/ 891540 h 3886200"/>
              <a:gd name="connsiteX17" fmla="*/ 487680 w 6370320"/>
              <a:gd name="connsiteY17" fmla="*/ 815340 h 3886200"/>
              <a:gd name="connsiteX18" fmla="*/ 0 w 6370320"/>
              <a:gd name="connsiteY18" fmla="*/ 906780 h 3886200"/>
              <a:gd name="connsiteX19" fmla="*/ 22860 w 6370320"/>
              <a:gd name="connsiteY19" fmla="*/ 617220 h 3886200"/>
              <a:gd name="connsiteX0" fmla="*/ 22860 w 6370320"/>
              <a:gd name="connsiteY0" fmla="*/ 617220 h 3886200"/>
              <a:gd name="connsiteX1" fmla="*/ 2141220 w 6370320"/>
              <a:gd name="connsiteY1" fmla="*/ 487680 h 3886200"/>
              <a:gd name="connsiteX2" fmla="*/ 2255520 w 6370320"/>
              <a:gd name="connsiteY2" fmla="*/ 0 h 3886200"/>
              <a:gd name="connsiteX3" fmla="*/ 2567940 w 6370320"/>
              <a:gd name="connsiteY3" fmla="*/ 7620 h 3886200"/>
              <a:gd name="connsiteX4" fmla="*/ 2651760 w 6370320"/>
              <a:gd name="connsiteY4" fmla="*/ 396240 h 3886200"/>
              <a:gd name="connsiteX5" fmla="*/ 3017520 w 6370320"/>
              <a:gd name="connsiteY5" fmla="*/ 426720 h 3886200"/>
              <a:gd name="connsiteX6" fmla="*/ 3611880 w 6370320"/>
              <a:gd name="connsiteY6" fmla="*/ 464820 h 3886200"/>
              <a:gd name="connsiteX7" fmla="*/ 3817620 w 6370320"/>
              <a:gd name="connsiteY7" fmla="*/ 502920 h 3886200"/>
              <a:gd name="connsiteX8" fmla="*/ 4091940 w 6370320"/>
              <a:gd name="connsiteY8" fmla="*/ 533400 h 3886200"/>
              <a:gd name="connsiteX9" fmla="*/ 4099560 w 6370320"/>
              <a:gd name="connsiteY9" fmla="*/ 777240 h 3886200"/>
              <a:gd name="connsiteX10" fmla="*/ 4191000 w 6370320"/>
              <a:gd name="connsiteY10" fmla="*/ 1409700 h 3886200"/>
              <a:gd name="connsiteX11" fmla="*/ 6370320 w 6370320"/>
              <a:gd name="connsiteY11" fmla="*/ 1676400 h 3886200"/>
              <a:gd name="connsiteX12" fmla="*/ 2575560 w 6370320"/>
              <a:gd name="connsiteY12" fmla="*/ 1638300 h 3886200"/>
              <a:gd name="connsiteX13" fmla="*/ 1821180 w 6370320"/>
              <a:gd name="connsiteY13" fmla="*/ 3886200 h 3886200"/>
              <a:gd name="connsiteX14" fmla="*/ 990600 w 6370320"/>
              <a:gd name="connsiteY14" fmla="*/ 3672840 h 3886200"/>
              <a:gd name="connsiteX15" fmla="*/ 1036320 w 6370320"/>
              <a:gd name="connsiteY15" fmla="*/ 1798320 h 3886200"/>
              <a:gd name="connsiteX16" fmla="*/ 807720 w 6370320"/>
              <a:gd name="connsiteY16" fmla="*/ 891540 h 3886200"/>
              <a:gd name="connsiteX17" fmla="*/ 487680 w 6370320"/>
              <a:gd name="connsiteY17" fmla="*/ 815340 h 3886200"/>
              <a:gd name="connsiteX18" fmla="*/ 0 w 6370320"/>
              <a:gd name="connsiteY18" fmla="*/ 906780 h 3886200"/>
              <a:gd name="connsiteX19" fmla="*/ 22860 w 6370320"/>
              <a:gd name="connsiteY19" fmla="*/ 617220 h 3886200"/>
              <a:gd name="connsiteX0" fmla="*/ 22860 w 6370320"/>
              <a:gd name="connsiteY0" fmla="*/ 617220 h 3886200"/>
              <a:gd name="connsiteX1" fmla="*/ 2141220 w 6370320"/>
              <a:gd name="connsiteY1" fmla="*/ 487680 h 3886200"/>
              <a:gd name="connsiteX2" fmla="*/ 2255520 w 6370320"/>
              <a:gd name="connsiteY2" fmla="*/ 0 h 3886200"/>
              <a:gd name="connsiteX3" fmla="*/ 2567940 w 6370320"/>
              <a:gd name="connsiteY3" fmla="*/ 7620 h 3886200"/>
              <a:gd name="connsiteX4" fmla="*/ 2651760 w 6370320"/>
              <a:gd name="connsiteY4" fmla="*/ 396240 h 3886200"/>
              <a:gd name="connsiteX5" fmla="*/ 3017520 w 6370320"/>
              <a:gd name="connsiteY5" fmla="*/ 426720 h 3886200"/>
              <a:gd name="connsiteX6" fmla="*/ 3611880 w 6370320"/>
              <a:gd name="connsiteY6" fmla="*/ 464820 h 3886200"/>
              <a:gd name="connsiteX7" fmla="*/ 3817620 w 6370320"/>
              <a:gd name="connsiteY7" fmla="*/ 502920 h 3886200"/>
              <a:gd name="connsiteX8" fmla="*/ 4091940 w 6370320"/>
              <a:gd name="connsiteY8" fmla="*/ 533400 h 3886200"/>
              <a:gd name="connsiteX9" fmla="*/ 4099560 w 6370320"/>
              <a:gd name="connsiteY9" fmla="*/ 777240 h 3886200"/>
              <a:gd name="connsiteX10" fmla="*/ 4191000 w 6370320"/>
              <a:gd name="connsiteY10" fmla="*/ 1409700 h 3886200"/>
              <a:gd name="connsiteX11" fmla="*/ 6370320 w 6370320"/>
              <a:gd name="connsiteY11" fmla="*/ 1676400 h 3886200"/>
              <a:gd name="connsiteX12" fmla="*/ 2575560 w 6370320"/>
              <a:gd name="connsiteY12" fmla="*/ 1638300 h 3886200"/>
              <a:gd name="connsiteX13" fmla="*/ 1821180 w 6370320"/>
              <a:gd name="connsiteY13" fmla="*/ 3886200 h 3886200"/>
              <a:gd name="connsiteX14" fmla="*/ 990600 w 6370320"/>
              <a:gd name="connsiteY14" fmla="*/ 3672840 h 3886200"/>
              <a:gd name="connsiteX15" fmla="*/ 1036320 w 6370320"/>
              <a:gd name="connsiteY15" fmla="*/ 1798320 h 3886200"/>
              <a:gd name="connsiteX16" fmla="*/ 807720 w 6370320"/>
              <a:gd name="connsiteY16" fmla="*/ 891540 h 3886200"/>
              <a:gd name="connsiteX17" fmla="*/ 480060 w 6370320"/>
              <a:gd name="connsiteY17" fmla="*/ 899160 h 3886200"/>
              <a:gd name="connsiteX18" fmla="*/ 0 w 6370320"/>
              <a:gd name="connsiteY18" fmla="*/ 906780 h 3886200"/>
              <a:gd name="connsiteX19" fmla="*/ 22860 w 6370320"/>
              <a:gd name="connsiteY19" fmla="*/ 617220 h 3886200"/>
              <a:gd name="connsiteX0" fmla="*/ 22860 w 6370320"/>
              <a:gd name="connsiteY0" fmla="*/ 617220 h 3886200"/>
              <a:gd name="connsiteX1" fmla="*/ 2141220 w 6370320"/>
              <a:gd name="connsiteY1" fmla="*/ 487680 h 3886200"/>
              <a:gd name="connsiteX2" fmla="*/ 2255520 w 6370320"/>
              <a:gd name="connsiteY2" fmla="*/ 0 h 3886200"/>
              <a:gd name="connsiteX3" fmla="*/ 2567940 w 6370320"/>
              <a:gd name="connsiteY3" fmla="*/ 7620 h 3886200"/>
              <a:gd name="connsiteX4" fmla="*/ 2651760 w 6370320"/>
              <a:gd name="connsiteY4" fmla="*/ 396240 h 3886200"/>
              <a:gd name="connsiteX5" fmla="*/ 3017520 w 6370320"/>
              <a:gd name="connsiteY5" fmla="*/ 426720 h 3886200"/>
              <a:gd name="connsiteX6" fmla="*/ 3611880 w 6370320"/>
              <a:gd name="connsiteY6" fmla="*/ 464820 h 3886200"/>
              <a:gd name="connsiteX7" fmla="*/ 3817620 w 6370320"/>
              <a:gd name="connsiteY7" fmla="*/ 502920 h 3886200"/>
              <a:gd name="connsiteX8" fmla="*/ 4091940 w 6370320"/>
              <a:gd name="connsiteY8" fmla="*/ 533400 h 3886200"/>
              <a:gd name="connsiteX9" fmla="*/ 4099560 w 6370320"/>
              <a:gd name="connsiteY9" fmla="*/ 777240 h 3886200"/>
              <a:gd name="connsiteX10" fmla="*/ 4191000 w 6370320"/>
              <a:gd name="connsiteY10" fmla="*/ 1409700 h 3886200"/>
              <a:gd name="connsiteX11" fmla="*/ 6370320 w 6370320"/>
              <a:gd name="connsiteY11" fmla="*/ 1676400 h 3886200"/>
              <a:gd name="connsiteX12" fmla="*/ 2575560 w 6370320"/>
              <a:gd name="connsiteY12" fmla="*/ 1638300 h 3886200"/>
              <a:gd name="connsiteX13" fmla="*/ 1821180 w 6370320"/>
              <a:gd name="connsiteY13" fmla="*/ 3886200 h 3886200"/>
              <a:gd name="connsiteX14" fmla="*/ 990600 w 6370320"/>
              <a:gd name="connsiteY14" fmla="*/ 3672840 h 3886200"/>
              <a:gd name="connsiteX15" fmla="*/ 1036320 w 6370320"/>
              <a:gd name="connsiteY15" fmla="*/ 1798320 h 3886200"/>
              <a:gd name="connsiteX16" fmla="*/ 807720 w 6370320"/>
              <a:gd name="connsiteY16" fmla="*/ 891540 h 3886200"/>
              <a:gd name="connsiteX17" fmla="*/ 480060 w 6370320"/>
              <a:gd name="connsiteY17" fmla="*/ 899160 h 3886200"/>
              <a:gd name="connsiteX18" fmla="*/ 0 w 6370320"/>
              <a:gd name="connsiteY18" fmla="*/ 906780 h 3886200"/>
              <a:gd name="connsiteX19" fmla="*/ 22860 w 6370320"/>
              <a:gd name="connsiteY19" fmla="*/ 617220 h 3886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6370320" h="3886200">
                <a:moveTo>
                  <a:pt x="22860" y="617220"/>
                </a:moveTo>
                <a:lnTo>
                  <a:pt x="2141220" y="487680"/>
                </a:lnTo>
                <a:cubicBezTo>
                  <a:pt x="2265680" y="462280"/>
                  <a:pt x="2123440" y="33020"/>
                  <a:pt x="2255520" y="0"/>
                </a:cubicBezTo>
                <a:lnTo>
                  <a:pt x="2567940" y="7620"/>
                </a:lnTo>
                <a:cubicBezTo>
                  <a:pt x="2573020" y="132080"/>
                  <a:pt x="2646680" y="264160"/>
                  <a:pt x="2651760" y="396240"/>
                </a:cubicBezTo>
                <a:cubicBezTo>
                  <a:pt x="2795270" y="426720"/>
                  <a:pt x="2786380" y="410210"/>
                  <a:pt x="3017520" y="426720"/>
                </a:cubicBezTo>
                <a:cubicBezTo>
                  <a:pt x="3178810" y="398780"/>
                  <a:pt x="3436620" y="449580"/>
                  <a:pt x="3611880" y="464820"/>
                </a:cubicBezTo>
                <a:cubicBezTo>
                  <a:pt x="3738880" y="433070"/>
                  <a:pt x="3741420" y="494030"/>
                  <a:pt x="3817620" y="502920"/>
                </a:cubicBezTo>
                <a:cubicBezTo>
                  <a:pt x="3855720" y="468630"/>
                  <a:pt x="4050030" y="530860"/>
                  <a:pt x="4091940" y="533400"/>
                </a:cubicBezTo>
                <a:cubicBezTo>
                  <a:pt x="4108450" y="576580"/>
                  <a:pt x="4046220" y="614680"/>
                  <a:pt x="4099560" y="777240"/>
                </a:cubicBezTo>
                <a:lnTo>
                  <a:pt x="4191000" y="1409700"/>
                </a:lnTo>
                <a:lnTo>
                  <a:pt x="6370320" y="1676400"/>
                </a:lnTo>
                <a:lnTo>
                  <a:pt x="2575560" y="1638300"/>
                </a:lnTo>
                <a:lnTo>
                  <a:pt x="1821180" y="3886200"/>
                </a:lnTo>
                <a:lnTo>
                  <a:pt x="990600" y="3672840"/>
                </a:lnTo>
                <a:lnTo>
                  <a:pt x="1036320" y="1798320"/>
                </a:lnTo>
                <a:cubicBezTo>
                  <a:pt x="955040" y="1493520"/>
                  <a:pt x="900430" y="1041400"/>
                  <a:pt x="807720" y="891540"/>
                </a:cubicBezTo>
                <a:lnTo>
                  <a:pt x="480060" y="899160"/>
                </a:lnTo>
                <a:cubicBezTo>
                  <a:pt x="349078" y="867974"/>
                  <a:pt x="77470" y="939800"/>
                  <a:pt x="0" y="906780"/>
                </a:cubicBezTo>
                <a:lnTo>
                  <a:pt x="22860" y="617220"/>
                </a:lnTo>
                <a:close/>
              </a:path>
            </a:pathLst>
          </a:custGeom>
          <a:solidFill>
            <a:schemeClr val="accent1">
              <a:alpha val="3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5" name="Фигура, имеющая форму буквы L 44"/>
          <p:cNvSpPr/>
          <p:nvPr/>
        </p:nvSpPr>
        <p:spPr>
          <a:xfrm>
            <a:off x="7056120" y="4599778"/>
            <a:ext cx="647700" cy="579120"/>
          </a:xfrm>
          <a:prstGeom prst="corner">
            <a:avLst/>
          </a:prstGeom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dirty="0" smtClean="0"/>
              <a:t>ЧТЭЦ-1</a:t>
            </a:r>
            <a:endParaRPr lang="ru-RU" sz="1000" dirty="0"/>
          </a:p>
        </p:txBody>
      </p:sp>
      <p:grpSp>
        <p:nvGrpSpPr>
          <p:cNvPr id="60" name="Группа 59"/>
          <p:cNvGrpSpPr/>
          <p:nvPr/>
        </p:nvGrpSpPr>
        <p:grpSpPr>
          <a:xfrm>
            <a:off x="5409560" y="2625864"/>
            <a:ext cx="2614302" cy="2456676"/>
            <a:chOff x="5409560" y="2625864"/>
            <a:chExt cx="2614302" cy="2456676"/>
          </a:xfrm>
        </p:grpSpPr>
        <p:cxnSp>
          <p:nvCxnSpPr>
            <p:cNvPr id="47" name="Прямая соединительная линия 46"/>
            <p:cNvCxnSpPr/>
            <p:nvPr/>
          </p:nvCxnSpPr>
          <p:spPr>
            <a:xfrm flipH="1">
              <a:off x="6648811" y="2625864"/>
              <a:ext cx="1375050" cy="638095"/>
            </a:xfrm>
            <a:prstGeom prst="line">
              <a:avLst/>
            </a:prstGeom>
            <a:ln/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50" name="Прямая соединительная линия 49"/>
            <p:cNvCxnSpPr/>
            <p:nvPr/>
          </p:nvCxnSpPr>
          <p:spPr>
            <a:xfrm>
              <a:off x="6648811" y="3263959"/>
              <a:ext cx="544469" cy="1335819"/>
            </a:xfrm>
            <a:prstGeom prst="line">
              <a:avLst/>
            </a:prstGeom>
            <a:ln/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52" name="Прямая соединительная линия 51"/>
            <p:cNvCxnSpPr/>
            <p:nvPr/>
          </p:nvCxnSpPr>
          <p:spPr>
            <a:xfrm flipH="1">
              <a:off x="5409560" y="2625864"/>
              <a:ext cx="2614302" cy="669601"/>
            </a:xfrm>
            <a:prstGeom prst="line">
              <a:avLst/>
            </a:prstGeom>
            <a:ln/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55" name="Прямая соединительная линия 54"/>
            <p:cNvCxnSpPr/>
            <p:nvPr/>
          </p:nvCxnSpPr>
          <p:spPr>
            <a:xfrm>
              <a:off x="5409560" y="3295465"/>
              <a:ext cx="358780" cy="781235"/>
            </a:xfrm>
            <a:prstGeom prst="line">
              <a:avLst/>
            </a:prstGeom>
            <a:ln/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57" name="Прямая соединительная линия 56"/>
            <p:cNvCxnSpPr/>
            <p:nvPr/>
          </p:nvCxnSpPr>
          <p:spPr>
            <a:xfrm>
              <a:off x="5768340" y="4076700"/>
              <a:ext cx="948371" cy="1005840"/>
            </a:xfrm>
            <a:prstGeom prst="line">
              <a:avLst/>
            </a:prstGeom>
            <a:ln/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59" name="Прямая соединительная линия 58"/>
            <p:cNvCxnSpPr>
              <a:endCxn id="45" idx="3"/>
            </p:cNvCxnSpPr>
            <p:nvPr/>
          </p:nvCxnSpPr>
          <p:spPr>
            <a:xfrm flipV="1">
              <a:off x="6716711" y="4599778"/>
              <a:ext cx="484189" cy="482762"/>
            </a:xfrm>
            <a:prstGeom prst="line">
              <a:avLst/>
            </a:prstGeom>
            <a:ln/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61" name="Прямоугольник 60"/>
          <p:cNvSpPr/>
          <p:nvPr/>
        </p:nvSpPr>
        <p:spPr>
          <a:xfrm>
            <a:off x="5434012" y="2604578"/>
            <a:ext cx="2723643" cy="2455102"/>
          </a:xfrm>
          <a:custGeom>
            <a:avLst/>
            <a:gdLst>
              <a:gd name="connsiteX0" fmla="*/ 0 w 2079307"/>
              <a:gd name="connsiteY0" fmla="*/ 0 h 3390900"/>
              <a:gd name="connsiteX1" fmla="*/ 2079307 w 2079307"/>
              <a:gd name="connsiteY1" fmla="*/ 0 h 3390900"/>
              <a:gd name="connsiteX2" fmla="*/ 2079307 w 2079307"/>
              <a:gd name="connsiteY2" fmla="*/ 3390900 h 3390900"/>
              <a:gd name="connsiteX3" fmla="*/ 0 w 2079307"/>
              <a:gd name="connsiteY3" fmla="*/ 3390900 h 3390900"/>
              <a:gd name="connsiteX4" fmla="*/ 0 w 2079307"/>
              <a:gd name="connsiteY4" fmla="*/ 0 h 3390900"/>
              <a:gd name="connsiteX0" fmla="*/ 0 w 2269807"/>
              <a:gd name="connsiteY0" fmla="*/ 1417320 h 3390900"/>
              <a:gd name="connsiteX1" fmla="*/ 2269807 w 2269807"/>
              <a:gd name="connsiteY1" fmla="*/ 0 h 3390900"/>
              <a:gd name="connsiteX2" fmla="*/ 2269807 w 2269807"/>
              <a:gd name="connsiteY2" fmla="*/ 3390900 h 3390900"/>
              <a:gd name="connsiteX3" fmla="*/ 190500 w 2269807"/>
              <a:gd name="connsiteY3" fmla="*/ 3390900 h 3390900"/>
              <a:gd name="connsiteX4" fmla="*/ 0 w 2269807"/>
              <a:gd name="connsiteY4" fmla="*/ 1417320 h 3390900"/>
              <a:gd name="connsiteX0" fmla="*/ 0 w 2551747"/>
              <a:gd name="connsiteY0" fmla="*/ 678180 h 2651760"/>
              <a:gd name="connsiteX1" fmla="*/ 2551747 w 2551747"/>
              <a:gd name="connsiteY1" fmla="*/ 0 h 2651760"/>
              <a:gd name="connsiteX2" fmla="*/ 2269807 w 2551747"/>
              <a:gd name="connsiteY2" fmla="*/ 2651760 h 2651760"/>
              <a:gd name="connsiteX3" fmla="*/ 190500 w 2551747"/>
              <a:gd name="connsiteY3" fmla="*/ 2651760 h 2651760"/>
              <a:gd name="connsiteX4" fmla="*/ 0 w 2551747"/>
              <a:gd name="connsiteY4" fmla="*/ 678180 h 2651760"/>
              <a:gd name="connsiteX0" fmla="*/ 0 w 2551747"/>
              <a:gd name="connsiteY0" fmla="*/ 678180 h 2651760"/>
              <a:gd name="connsiteX1" fmla="*/ 2551747 w 2551747"/>
              <a:gd name="connsiteY1" fmla="*/ 0 h 2651760"/>
              <a:gd name="connsiteX2" fmla="*/ 2269807 w 2551747"/>
              <a:gd name="connsiteY2" fmla="*/ 2651760 h 2651760"/>
              <a:gd name="connsiteX3" fmla="*/ 190500 w 2551747"/>
              <a:gd name="connsiteY3" fmla="*/ 2651760 h 2651760"/>
              <a:gd name="connsiteX4" fmla="*/ 0 w 2551747"/>
              <a:gd name="connsiteY4" fmla="*/ 678180 h 2651760"/>
              <a:gd name="connsiteX0" fmla="*/ 0 w 2551747"/>
              <a:gd name="connsiteY0" fmla="*/ 678180 h 2651760"/>
              <a:gd name="connsiteX1" fmla="*/ 2551747 w 2551747"/>
              <a:gd name="connsiteY1" fmla="*/ 0 h 2651760"/>
              <a:gd name="connsiteX2" fmla="*/ 2269807 w 2551747"/>
              <a:gd name="connsiteY2" fmla="*/ 2651760 h 2651760"/>
              <a:gd name="connsiteX3" fmla="*/ 190500 w 2551747"/>
              <a:gd name="connsiteY3" fmla="*/ 2651760 h 2651760"/>
              <a:gd name="connsiteX4" fmla="*/ 0 w 2551747"/>
              <a:gd name="connsiteY4" fmla="*/ 678180 h 2651760"/>
              <a:gd name="connsiteX0" fmla="*/ 0 w 2551747"/>
              <a:gd name="connsiteY0" fmla="*/ 678180 h 2651760"/>
              <a:gd name="connsiteX1" fmla="*/ 2551747 w 2551747"/>
              <a:gd name="connsiteY1" fmla="*/ 0 h 2651760"/>
              <a:gd name="connsiteX2" fmla="*/ 1782127 w 2551747"/>
              <a:gd name="connsiteY2" fmla="*/ 1965960 h 2651760"/>
              <a:gd name="connsiteX3" fmla="*/ 190500 w 2551747"/>
              <a:gd name="connsiteY3" fmla="*/ 2651760 h 2651760"/>
              <a:gd name="connsiteX4" fmla="*/ 0 w 2551747"/>
              <a:gd name="connsiteY4" fmla="*/ 678180 h 2651760"/>
              <a:gd name="connsiteX0" fmla="*/ 0 w 2551747"/>
              <a:gd name="connsiteY0" fmla="*/ 678180 h 2651760"/>
              <a:gd name="connsiteX1" fmla="*/ 2551747 w 2551747"/>
              <a:gd name="connsiteY1" fmla="*/ 0 h 2651760"/>
              <a:gd name="connsiteX2" fmla="*/ 1782127 w 2551747"/>
              <a:gd name="connsiteY2" fmla="*/ 1965960 h 2651760"/>
              <a:gd name="connsiteX3" fmla="*/ 190500 w 2551747"/>
              <a:gd name="connsiteY3" fmla="*/ 2651760 h 2651760"/>
              <a:gd name="connsiteX4" fmla="*/ 0 w 2551747"/>
              <a:gd name="connsiteY4" fmla="*/ 678180 h 2651760"/>
              <a:gd name="connsiteX0" fmla="*/ 0 w 2551747"/>
              <a:gd name="connsiteY0" fmla="*/ 678180 h 2651760"/>
              <a:gd name="connsiteX1" fmla="*/ 2551747 w 2551747"/>
              <a:gd name="connsiteY1" fmla="*/ 0 h 2651760"/>
              <a:gd name="connsiteX2" fmla="*/ 1782127 w 2551747"/>
              <a:gd name="connsiteY2" fmla="*/ 1965960 h 2651760"/>
              <a:gd name="connsiteX3" fmla="*/ 190500 w 2551747"/>
              <a:gd name="connsiteY3" fmla="*/ 2651760 h 2651760"/>
              <a:gd name="connsiteX4" fmla="*/ 0 w 2551747"/>
              <a:gd name="connsiteY4" fmla="*/ 678180 h 2651760"/>
              <a:gd name="connsiteX0" fmla="*/ 0 w 2551747"/>
              <a:gd name="connsiteY0" fmla="*/ 678180 h 2651760"/>
              <a:gd name="connsiteX1" fmla="*/ 2551747 w 2551747"/>
              <a:gd name="connsiteY1" fmla="*/ 0 h 2651760"/>
              <a:gd name="connsiteX2" fmla="*/ 2246947 w 2551747"/>
              <a:gd name="connsiteY2" fmla="*/ 868680 h 2651760"/>
              <a:gd name="connsiteX3" fmla="*/ 1782127 w 2551747"/>
              <a:gd name="connsiteY3" fmla="*/ 1965960 h 2651760"/>
              <a:gd name="connsiteX4" fmla="*/ 190500 w 2551747"/>
              <a:gd name="connsiteY4" fmla="*/ 2651760 h 2651760"/>
              <a:gd name="connsiteX5" fmla="*/ 0 w 2551747"/>
              <a:gd name="connsiteY5" fmla="*/ 678180 h 2651760"/>
              <a:gd name="connsiteX0" fmla="*/ 0 w 2551747"/>
              <a:gd name="connsiteY0" fmla="*/ 678180 h 2651760"/>
              <a:gd name="connsiteX1" fmla="*/ 2551747 w 2551747"/>
              <a:gd name="connsiteY1" fmla="*/ 0 h 2651760"/>
              <a:gd name="connsiteX2" fmla="*/ 1241107 w 2551747"/>
              <a:gd name="connsiteY2" fmla="*/ 670560 h 2651760"/>
              <a:gd name="connsiteX3" fmla="*/ 1782127 w 2551747"/>
              <a:gd name="connsiteY3" fmla="*/ 1965960 h 2651760"/>
              <a:gd name="connsiteX4" fmla="*/ 190500 w 2551747"/>
              <a:gd name="connsiteY4" fmla="*/ 2651760 h 2651760"/>
              <a:gd name="connsiteX5" fmla="*/ 0 w 2551747"/>
              <a:gd name="connsiteY5" fmla="*/ 678180 h 2651760"/>
              <a:gd name="connsiteX0" fmla="*/ 0 w 2723643"/>
              <a:gd name="connsiteY0" fmla="*/ 710122 h 2683702"/>
              <a:gd name="connsiteX1" fmla="*/ 2551747 w 2723643"/>
              <a:gd name="connsiteY1" fmla="*/ 31942 h 2683702"/>
              <a:gd name="connsiteX2" fmla="*/ 2353627 w 2723643"/>
              <a:gd name="connsiteY2" fmla="*/ 161482 h 2683702"/>
              <a:gd name="connsiteX3" fmla="*/ 1241107 w 2723643"/>
              <a:gd name="connsiteY3" fmla="*/ 702502 h 2683702"/>
              <a:gd name="connsiteX4" fmla="*/ 1782127 w 2723643"/>
              <a:gd name="connsiteY4" fmla="*/ 1997902 h 2683702"/>
              <a:gd name="connsiteX5" fmla="*/ 190500 w 2723643"/>
              <a:gd name="connsiteY5" fmla="*/ 2683702 h 2683702"/>
              <a:gd name="connsiteX6" fmla="*/ 0 w 2723643"/>
              <a:gd name="connsiteY6" fmla="*/ 710122 h 2683702"/>
              <a:gd name="connsiteX0" fmla="*/ 0 w 2723643"/>
              <a:gd name="connsiteY0" fmla="*/ 710122 h 2683702"/>
              <a:gd name="connsiteX1" fmla="*/ 2551747 w 2723643"/>
              <a:gd name="connsiteY1" fmla="*/ 31942 h 2683702"/>
              <a:gd name="connsiteX2" fmla="*/ 2353627 w 2723643"/>
              <a:gd name="connsiteY2" fmla="*/ 161482 h 2683702"/>
              <a:gd name="connsiteX3" fmla="*/ 1248727 w 2723643"/>
              <a:gd name="connsiteY3" fmla="*/ 694882 h 2683702"/>
              <a:gd name="connsiteX4" fmla="*/ 1782127 w 2723643"/>
              <a:gd name="connsiteY4" fmla="*/ 1997902 h 2683702"/>
              <a:gd name="connsiteX5" fmla="*/ 190500 w 2723643"/>
              <a:gd name="connsiteY5" fmla="*/ 2683702 h 2683702"/>
              <a:gd name="connsiteX6" fmla="*/ 0 w 2723643"/>
              <a:gd name="connsiteY6" fmla="*/ 710122 h 2683702"/>
              <a:gd name="connsiteX0" fmla="*/ 0 w 2723643"/>
              <a:gd name="connsiteY0" fmla="*/ 710122 h 2683702"/>
              <a:gd name="connsiteX1" fmla="*/ 2551747 w 2723643"/>
              <a:gd name="connsiteY1" fmla="*/ 31942 h 2683702"/>
              <a:gd name="connsiteX2" fmla="*/ 2353627 w 2723643"/>
              <a:gd name="connsiteY2" fmla="*/ 161482 h 2683702"/>
              <a:gd name="connsiteX3" fmla="*/ 1248727 w 2723643"/>
              <a:gd name="connsiteY3" fmla="*/ 694882 h 2683702"/>
              <a:gd name="connsiteX4" fmla="*/ 1782127 w 2723643"/>
              <a:gd name="connsiteY4" fmla="*/ 1997902 h 2683702"/>
              <a:gd name="connsiteX5" fmla="*/ 190500 w 2723643"/>
              <a:gd name="connsiteY5" fmla="*/ 2683702 h 2683702"/>
              <a:gd name="connsiteX6" fmla="*/ 0 w 2723643"/>
              <a:gd name="connsiteY6" fmla="*/ 710122 h 2683702"/>
              <a:gd name="connsiteX0" fmla="*/ 0 w 2723643"/>
              <a:gd name="connsiteY0" fmla="*/ 710122 h 2455102"/>
              <a:gd name="connsiteX1" fmla="*/ 2551747 w 2723643"/>
              <a:gd name="connsiteY1" fmla="*/ 31942 h 2455102"/>
              <a:gd name="connsiteX2" fmla="*/ 2353627 w 2723643"/>
              <a:gd name="connsiteY2" fmla="*/ 161482 h 2455102"/>
              <a:gd name="connsiteX3" fmla="*/ 1248727 w 2723643"/>
              <a:gd name="connsiteY3" fmla="*/ 694882 h 2455102"/>
              <a:gd name="connsiteX4" fmla="*/ 1782127 w 2723643"/>
              <a:gd name="connsiteY4" fmla="*/ 1997902 h 2455102"/>
              <a:gd name="connsiteX5" fmla="*/ 1287780 w 2723643"/>
              <a:gd name="connsiteY5" fmla="*/ 2455102 h 2455102"/>
              <a:gd name="connsiteX6" fmla="*/ 0 w 2723643"/>
              <a:gd name="connsiteY6" fmla="*/ 710122 h 2455102"/>
              <a:gd name="connsiteX0" fmla="*/ 0 w 2723643"/>
              <a:gd name="connsiteY0" fmla="*/ 710122 h 2455102"/>
              <a:gd name="connsiteX1" fmla="*/ 2551747 w 2723643"/>
              <a:gd name="connsiteY1" fmla="*/ 31942 h 2455102"/>
              <a:gd name="connsiteX2" fmla="*/ 2353627 w 2723643"/>
              <a:gd name="connsiteY2" fmla="*/ 161482 h 2455102"/>
              <a:gd name="connsiteX3" fmla="*/ 1248727 w 2723643"/>
              <a:gd name="connsiteY3" fmla="*/ 694882 h 2455102"/>
              <a:gd name="connsiteX4" fmla="*/ 1782127 w 2723643"/>
              <a:gd name="connsiteY4" fmla="*/ 1997902 h 2455102"/>
              <a:gd name="connsiteX5" fmla="*/ 1287780 w 2723643"/>
              <a:gd name="connsiteY5" fmla="*/ 2455102 h 2455102"/>
              <a:gd name="connsiteX6" fmla="*/ 0 w 2723643"/>
              <a:gd name="connsiteY6" fmla="*/ 710122 h 2455102"/>
              <a:gd name="connsiteX0" fmla="*/ 99669 w 2823312"/>
              <a:gd name="connsiteY0" fmla="*/ 710122 h 2455102"/>
              <a:gd name="connsiteX1" fmla="*/ 2651416 w 2823312"/>
              <a:gd name="connsiteY1" fmla="*/ 31942 h 2455102"/>
              <a:gd name="connsiteX2" fmla="*/ 2453296 w 2823312"/>
              <a:gd name="connsiteY2" fmla="*/ 161482 h 2455102"/>
              <a:gd name="connsiteX3" fmla="*/ 1348396 w 2823312"/>
              <a:gd name="connsiteY3" fmla="*/ 694882 h 2455102"/>
              <a:gd name="connsiteX4" fmla="*/ 1881796 w 2823312"/>
              <a:gd name="connsiteY4" fmla="*/ 1997902 h 2455102"/>
              <a:gd name="connsiteX5" fmla="*/ 1387449 w 2823312"/>
              <a:gd name="connsiteY5" fmla="*/ 2455102 h 2455102"/>
              <a:gd name="connsiteX6" fmla="*/ 601636 w 2823312"/>
              <a:gd name="connsiteY6" fmla="*/ 1456882 h 2455102"/>
              <a:gd name="connsiteX7" fmla="*/ 99669 w 2823312"/>
              <a:gd name="connsiteY7" fmla="*/ 710122 h 2455102"/>
              <a:gd name="connsiteX0" fmla="*/ 99669 w 2823312"/>
              <a:gd name="connsiteY0" fmla="*/ 710122 h 2455102"/>
              <a:gd name="connsiteX1" fmla="*/ 2651416 w 2823312"/>
              <a:gd name="connsiteY1" fmla="*/ 31942 h 2455102"/>
              <a:gd name="connsiteX2" fmla="*/ 2453296 w 2823312"/>
              <a:gd name="connsiteY2" fmla="*/ 161482 h 2455102"/>
              <a:gd name="connsiteX3" fmla="*/ 1348396 w 2823312"/>
              <a:gd name="connsiteY3" fmla="*/ 694882 h 2455102"/>
              <a:gd name="connsiteX4" fmla="*/ 1881796 w 2823312"/>
              <a:gd name="connsiteY4" fmla="*/ 1997902 h 2455102"/>
              <a:gd name="connsiteX5" fmla="*/ 1387449 w 2823312"/>
              <a:gd name="connsiteY5" fmla="*/ 2455102 h 2455102"/>
              <a:gd name="connsiteX6" fmla="*/ 601636 w 2823312"/>
              <a:gd name="connsiteY6" fmla="*/ 1456882 h 2455102"/>
              <a:gd name="connsiteX7" fmla="*/ 99669 w 2823312"/>
              <a:gd name="connsiteY7" fmla="*/ 710122 h 2455102"/>
              <a:gd name="connsiteX0" fmla="*/ 114000 w 2837643"/>
              <a:gd name="connsiteY0" fmla="*/ 710122 h 2455102"/>
              <a:gd name="connsiteX1" fmla="*/ 2665747 w 2837643"/>
              <a:gd name="connsiteY1" fmla="*/ 31942 h 2455102"/>
              <a:gd name="connsiteX2" fmla="*/ 2467627 w 2837643"/>
              <a:gd name="connsiteY2" fmla="*/ 161482 h 2455102"/>
              <a:gd name="connsiteX3" fmla="*/ 1362727 w 2837643"/>
              <a:gd name="connsiteY3" fmla="*/ 694882 h 2455102"/>
              <a:gd name="connsiteX4" fmla="*/ 1896127 w 2837643"/>
              <a:gd name="connsiteY4" fmla="*/ 1997902 h 2455102"/>
              <a:gd name="connsiteX5" fmla="*/ 1401780 w 2837643"/>
              <a:gd name="connsiteY5" fmla="*/ 2455102 h 2455102"/>
              <a:gd name="connsiteX6" fmla="*/ 501667 w 2837643"/>
              <a:gd name="connsiteY6" fmla="*/ 1479742 h 2455102"/>
              <a:gd name="connsiteX7" fmla="*/ 114000 w 2837643"/>
              <a:gd name="connsiteY7" fmla="*/ 710122 h 2455102"/>
              <a:gd name="connsiteX0" fmla="*/ 0 w 2723643"/>
              <a:gd name="connsiteY0" fmla="*/ 710122 h 2455102"/>
              <a:gd name="connsiteX1" fmla="*/ 2551747 w 2723643"/>
              <a:gd name="connsiteY1" fmla="*/ 31942 h 2455102"/>
              <a:gd name="connsiteX2" fmla="*/ 2353627 w 2723643"/>
              <a:gd name="connsiteY2" fmla="*/ 161482 h 2455102"/>
              <a:gd name="connsiteX3" fmla="*/ 1248727 w 2723643"/>
              <a:gd name="connsiteY3" fmla="*/ 694882 h 2455102"/>
              <a:gd name="connsiteX4" fmla="*/ 1782127 w 2723643"/>
              <a:gd name="connsiteY4" fmla="*/ 1997902 h 2455102"/>
              <a:gd name="connsiteX5" fmla="*/ 1287780 w 2723643"/>
              <a:gd name="connsiteY5" fmla="*/ 2455102 h 2455102"/>
              <a:gd name="connsiteX6" fmla="*/ 387667 w 2723643"/>
              <a:gd name="connsiteY6" fmla="*/ 1479742 h 2455102"/>
              <a:gd name="connsiteX7" fmla="*/ 0 w 2723643"/>
              <a:gd name="connsiteY7" fmla="*/ 710122 h 2455102"/>
              <a:gd name="connsiteX0" fmla="*/ 0 w 2723643"/>
              <a:gd name="connsiteY0" fmla="*/ 710122 h 2455102"/>
              <a:gd name="connsiteX1" fmla="*/ 2551747 w 2723643"/>
              <a:gd name="connsiteY1" fmla="*/ 31942 h 2455102"/>
              <a:gd name="connsiteX2" fmla="*/ 2353627 w 2723643"/>
              <a:gd name="connsiteY2" fmla="*/ 161482 h 2455102"/>
              <a:gd name="connsiteX3" fmla="*/ 1248727 w 2723643"/>
              <a:gd name="connsiteY3" fmla="*/ 694882 h 2455102"/>
              <a:gd name="connsiteX4" fmla="*/ 1782127 w 2723643"/>
              <a:gd name="connsiteY4" fmla="*/ 1997902 h 2455102"/>
              <a:gd name="connsiteX5" fmla="*/ 1287780 w 2723643"/>
              <a:gd name="connsiteY5" fmla="*/ 2455102 h 2455102"/>
              <a:gd name="connsiteX6" fmla="*/ 341947 w 2723643"/>
              <a:gd name="connsiteY6" fmla="*/ 1502602 h 2455102"/>
              <a:gd name="connsiteX7" fmla="*/ 0 w 2723643"/>
              <a:gd name="connsiteY7" fmla="*/ 710122 h 2455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723643" h="2455102">
                <a:moveTo>
                  <a:pt x="0" y="710122"/>
                </a:moveTo>
                <a:lnTo>
                  <a:pt x="2551747" y="31942"/>
                </a:lnTo>
                <a:cubicBezTo>
                  <a:pt x="2944018" y="-54418"/>
                  <a:pt x="2572067" y="49722"/>
                  <a:pt x="2353627" y="161482"/>
                </a:cubicBezTo>
                <a:lnTo>
                  <a:pt x="1248727" y="694882"/>
                </a:lnTo>
                <a:lnTo>
                  <a:pt x="1782127" y="1997902"/>
                </a:lnTo>
                <a:lnTo>
                  <a:pt x="1287780" y="2455102"/>
                </a:lnTo>
                <a:cubicBezTo>
                  <a:pt x="1074420" y="2364932"/>
                  <a:pt x="556577" y="1793432"/>
                  <a:pt x="341947" y="1502602"/>
                </a:cubicBezTo>
                <a:lnTo>
                  <a:pt x="0" y="710122"/>
                </a:lnTo>
                <a:close/>
              </a:path>
            </a:pathLst>
          </a:custGeom>
          <a:solidFill>
            <a:schemeClr val="accent1">
              <a:alpha val="3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5" name="Рисунок 3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0571" y="4557713"/>
            <a:ext cx="785531" cy="788185"/>
          </a:xfrm>
          <a:prstGeom prst="rect">
            <a:avLst/>
          </a:prstGeom>
        </p:spPr>
      </p:pic>
      <p:sp>
        <p:nvSpPr>
          <p:cNvPr id="39" name="Номер слайда 4"/>
          <p:cNvSpPr txBox="1">
            <a:spLocks/>
          </p:cNvSpPr>
          <p:nvPr/>
        </p:nvSpPr>
        <p:spPr>
          <a:xfrm>
            <a:off x="592649" y="5170291"/>
            <a:ext cx="2373436" cy="1531591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no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506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600" b="1" dirty="0" smtClean="0">
                <a:solidFill>
                  <a:srgbClr val="000000"/>
                </a:solidFill>
              </a:rPr>
              <a:t>1 этап</a:t>
            </a:r>
          </a:p>
          <a:p>
            <a:r>
              <a:rPr lang="ru-RU" sz="1600" b="1" dirty="0" smtClean="0">
                <a:solidFill>
                  <a:srgbClr val="000000"/>
                </a:solidFill>
              </a:rPr>
              <a:t>гидравлических</a:t>
            </a:r>
          </a:p>
          <a:p>
            <a:r>
              <a:rPr lang="ru-RU" sz="1600" b="1" dirty="0" smtClean="0">
                <a:solidFill>
                  <a:srgbClr val="000000"/>
                </a:solidFill>
              </a:rPr>
              <a:t>испытаний</a:t>
            </a:r>
          </a:p>
          <a:p>
            <a:r>
              <a:rPr lang="ru-RU" sz="1400" b="1" dirty="0" smtClean="0"/>
              <a:t>с 14.05.2019-28.05.2019</a:t>
            </a:r>
            <a:endParaRPr lang="en-US" sz="1400" b="1" dirty="0"/>
          </a:p>
        </p:txBody>
      </p:sp>
    </p:spTree>
    <p:extLst>
      <p:ext uri="{BB962C8B-B14F-4D97-AF65-F5344CB8AC3E}">
        <p14:creationId xmlns:p14="http://schemas.microsoft.com/office/powerpoint/2010/main" val="39464478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Объект 5"/>
          <p:cNvPicPr>
            <a:picLocks noGrp="1" noChangeAspect="1"/>
          </p:cNvPicPr>
          <p:nvPr>
            <p:ph idx="1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764" t="585"/>
          <a:stretch/>
        </p:blipFill>
        <p:spPr>
          <a:xfrm>
            <a:off x="2504721" y="137160"/>
            <a:ext cx="6477000" cy="6484620"/>
          </a:xfrm>
        </p:spPr>
      </p:pic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srgbClr val="000000"/>
                </a:solidFill>
              </a:rPr>
              <a:t> 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413152" y="1460810"/>
            <a:ext cx="2552933" cy="1694984"/>
          </a:xfrm>
        </p:spPr>
        <p:txBody>
          <a:bodyPr/>
          <a:lstStyle/>
          <a:p>
            <a:r>
              <a:rPr lang="ru-RU" sz="1600" b="1" dirty="0" smtClean="0">
                <a:solidFill>
                  <a:srgbClr val="000000"/>
                </a:solidFill>
              </a:rPr>
              <a:t>1 этап</a:t>
            </a:r>
          </a:p>
          <a:p>
            <a:r>
              <a:rPr lang="ru-RU" sz="1600" b="1" dirty="0" smtClean="0">
                <a:solidFill>
                  <a:srgbClr val="000000"/>
                </a:solidFill>
              </a:rPr>
              <a:t>гидравлических</a:t>
            </a:r>
          </a:p>
          <a:p>
            <a:r>
              <a:rPr lang="ru-RU" sz="1600" b="1" dirty="0">
                <a:solidFill>
                  <a:srgbClr val="000000"/>
                </a:solidFill>
              </a:rPr>
              <a:t>и</a:t>
            </a:r>
            <a:r>
              <a:rPr lang="ru-RU" sz="1600" b="1" dirty="0" smtClean="0">
                <a:solidFill>
                  <a:srgbClr val="000000"/>
                </a:solidFill>
              </a:rPr>
              <a:t>спытаний</a:t>
            </a:r>
            <a:endParaRPr lang="ru-RU" sz="1600" b="1" dirty="0" smtClean="0">
              <a:solidFill>
                <a:srgbClr val="000000"/>
              </a:solidFill>
            </a:endParaRPr>
          </a:p>
          <a:p>
            <a:r>
              <a:rPr lang="ru-RU" sz="1400" b="1" dirty="0" smtClean="0"/>
              <a:t>с 14.05.2019-28.05.2019</a:t>
            </a:r>
            <a:endParaRPr lang="en-US" sz="1400" b="1" dirty="0"/>
          </a:p>
        </p:txBody>
      </p:sp>
      <p:sp>
        <p:nvSpPr>
          <p:cNvPr id="7" name="Фигура, имеющая форму буквы L 6"/>
          <p:cNvSpPr/>
          <p:nvPr/>
        </p:nvSpPr>
        <p:spPr>
          <a:xfrm>
            <a:off x="6096000" y="137160"/>
            <a:ext cx="647700" cy="579120"/>
          </a:xfrm>
          <a:prstGeom prst="corner">
            <a:avLst/>
          </a:prstGeom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dirty="0" smtClean="0"/>
              <a:t>ЧТЭЦ-4</a:t>
            </a:r>
            <a:endParaRPr lang="ru-RU" sz="1000" dirty="0"/>
          </a:p>
        </p:txBody>
      </p:sp>
      <p:cxnSp>
        <p:nvCxnSpPr>
          <p:cNvPr id="9" name="Прямая соединительная линия 8"/>
          <p:cNvCxnSpPr/>
          <p:nvPr/>
        </p:nvCxnSpPr>
        <p:spPr>
          <a:xfrm flipH="1">
            <a:off x="3954780" y="716280"/>
            <a:ext cx="2316480" cy="45720"/>
          </a:xfrm>
          <a:prstGeom prst="line">
            <a:avLst/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1" name="Прямая соединительная линия 10"/>
          <p:cNvCxnSpPr/>
          <p:nvPr/>
        </p:nvCxnSpPr>
        <p:spPr>
          <a:xfrm>
            <a:off x="3954780" y="762000"/>
            <a:ext cx="53340" cy="1751489"/>
          </a:xfrm>
          <a:prstGeom prst="line">
            <a:avLst/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6" name="Прямая соединительная линия 15"/>
          <p:cNvCxnSpPr/>
          <p:nvPr/>
        </p:nvCxnSpPr>
        <p:spPr>
          <a:xfrm flipV="1">
            <a:off x="4010025" y="2514600"/>
            <a:ext cx="438150" cy="3175"/>
          </a:xfrm>
          <a:prstGeom prst="line">
            <a:avLst/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8" name="Прямая соединительная линия 17"/>
          <p:cNvCxnSpPr/>
          <p:nvPr/>
        </p:nvCxnSpPr>
        <p:spPr>
          <a:xfrm>
            <a:off x="4448175" y="2513489"/>
            <a:ext cx="69656" cy="2172811"/>
          </a:xfrm>
          <a:prstGeom prst="line">
            <a:avLst/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1" name="Прямая соединительная линия 20"/>
          <p:cNvCxnSpPr/>
          <p:nvPr/>
        </p:nvCxnSpPr>
        <p:spPr>
          <a:xfrm flipH="1">
            <a:off x="4052888" y="4700588"/>
            <a:ext cx="464943" cy="19050"/>
          </a:xfrm>
          <a:prstGeom prst="line">
            <a:avLst/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3" name="Прямая соединительная линия 22"/>
          <p:cNvCxnSpPr/>
          <p:nvPr/>
        </p:nvCxnSpPr>
        <p:spPr>
          <a:xfrm>
            <a:off x="4052888" y="4719638"/>
            <a:ext cx="42862" cy="1228725"/>
          </a:xfrm>
          <a:prstGeom prst="line">
            <a:avLst/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6" name="Прямая соединительная линия 25"/>
          <p:cNvCxnSpPr/>
          <p:nvPr/>
        </p:nvCxnSpPr>
        <p:spPr>
          <a:xfrm>
            <a:off x="4095750" y="5948363"/>
            <a:ext cx="781050" cy="589597"/>
          </a:xfrm>
          <a:prstGeom prst="line">
            <a:avLst/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8" name="Прямая соединительная линия 27"/>
          <p:cNvCxnSpPr/>
          <p:nvPr/>
        </p:nvCxnSpPr>
        <p:spPr>
          <a:xfrm>
            <a:off x="4876800" y="6537960"/>
            <a:ext cx="1089660" cy="0"/>
          </a:xfrm>
          <a:prstGeom prst="line">
            <a:avLst/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0" name="Прямая соединительная линия 29"/>
          <p:cNvCxnSpPr/>
          <p:nvPr/>
        </p:nvCxnSpPr>
        <p:spPr>
          <a:xfrm flipH="1" flipV="1">
            <a:off x="5806440" y="1722120"/>
            <a:ext cx="160020" cy="4815840"/>
          </a:xfrm>
          <a:prstGeom prst="line">
            <a:avLst/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2" name="Прямая соединительная линия 31"/>
          <p:cNvCxnSpPr/>
          <p:nvPr/>
        </p:nvCxnSpPr>
        <p:spPr>
          <a:xfrm flipV="1">
            <a:off x="5806440" y="1637744"/>
            <a:ext cx="464820" cy="84376"/>
          </a:xfrm>
          <a:prstGeom prst="line">
            <a:avLst/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4" name="Прямая соединительная линия 33"/>
          <p:cNvCxnSpPr/>
          <p:nvPr/>
        </p:nvCxnSpPr>
        <p:spPr>
          <a:xfrm>
            <a:off x="6271260" y="1637744"/>
            <a:ext cx="739140" cy="2492296"/>
          </a:xfrm>
          <a:prstGeom prst="line">
            <a:avLst/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6" name="Прямая соединительная линия 35"/>
          <p:cNvCxnSpPr/>
          <p:nvPr/>
        </p:nvCxnSpPr>
        <p:spPr>
          <a:xfrm>
            <a:off x="7010400" y="4130040"/>
            <a:ext cx="0" cy="259080"/>
          </a:xfrm>
          <a:prstGeom prst="line">
            <a:avLst/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8" name="Прямая соединительная линия 37"/>
          <p:cNvCxnSpPr/>
          <p:nvPr/>
        </p:nvCxnSpPr>
        <p:spPr>
          <a:xfrm flipV="1">
            <a:off x="7010400" y="4221480"/>
            <a:ext cx="1971321" cy="167640"/>
          </a:xfrm>
          <a:prstGeom prst="line">
            <a:avLst/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41" name="Прямая соединительная линия 40"/>
          <p:cNvCxnSpPr/>
          <p:nvPr/>
        </p:nvCxnSpPr>
        <p:spPr>
          <a:xfrm flipH="1" flipV="1">
            <a:off x="7559040" y="624840"/>
            <a:ext cx="1422681" cy="3596640"/>
          </a:xfrm>
          <a:prstGeom prst="line">
            <a:avLst/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43" name="Прямая соединительная линия 42"/>
          <p:cNvCxnSpPr/>
          <p:nvPr/>
        </p:nvCxnSpPr>
        <p:spPr>
          <a:xfrm flipV="1">
            <a:off x="6271260" y="624840"/>
            <a:ext cx="1287780" cy="91440"/>
          </a:xfrm>
          <a:prstGeom prst="line">
            <a:avLst/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58" name="Прямоугольник 57"/>
          <p:cNvSpPr/>
          <p:nvPr/>
        </p:nvSpPr>
        <p:spPr>
          <a:xfrm>
            <a:off x="3962400" y="624840"/>
            <a:ext cx="4983480" cy="5911536"/>
          </a:xfrm>
          <a:custGeom>
            <a:avLst/>
            <a:gdLst>
              <a:gd name="connsiteX0" fmla="*/ 0 w 5257800"/>
              <a:gd name="connsiteY0" fmla="*/ 0 h 6124896"/>
              <a:gd name="connsiteX1" fmla="*/ 5257800 w 5257800"/>
              <a:gd name="connsiteY1" fmla="*/ 0 h 6124896"/>
              <a:gd name="connsiteX2" fmla="*/ 5257800 w 5257800"/>
              <a:gd name="connsiteY2" fmla="*/ 6124896 h 6124896"/>
              <a:gd name="connsiteX3" fmla="*/ 0 w 5257800"/>
              <a:gd name="connsiteY3" fmla="*/ 6124896 h 6124896"/>
              <a:gd name="connsiteX4" fmla="*/ 0 w 5257800"/>
              <a:gd name="connsiteY4" fmla="*/ 0 h 6124896"/>
              <a:gd name="connsiteX0" fmla="*/ 198120 w 5257800"/>
              <a:gd name="connsiteY0" fmla="*/ 312420 h 6124896"/>
              <a:gd name="connsiteX1" fmla="*/ 5257800 w 5257800"/>
              <a:gd name="connsiteY1" fmla="*/ 0 h 6124896"/>
              <a:gd name="connsiteX2" fmla="*/ 5257800 w 5257800"/>
              <a:gd name="connsiteY2" fmla="*/ 6124896 h 6124896"/>
              <a:gd name="connsiteX3" fmla="*/ 0 w 5257800"/>
              <a:gd name="connsiteY3" fmla="*/ 6124896 h 6124896"/>
              <a:gd name="connsiteX4" fmla="*/ 198120 w 5257800"/>
              <a:gd name="connsiteY4" fmla="*/ 312420 h 6124896"/>
              <a:gd name="connsiteX0" fmla="*/ 198120 w 5257800"/>
              <a:gd name="connsiteY0" fmla="*/ 160020 h 5972496"/>
              <a:gd name="connsiteX1" fmla="*/ 3810000 w 5257800"/>
              <a:gd name="connsiteY1" fmla="*/ 0 h 5972496"/>
              <a:gd name="connsiteX2" fmla="*/ 5257800 w 5257800"/>
              <a:gd name="connsiteY2" fmla="*/ 5972496 h 5972496"/>
              <a:gd name="connsiteX3" fmla="*/ 0 w 5257800"/>
              <a:gd name="connsiteY3" fmla="*/ 5972496 h 5972496"/>
              <a:gd name="connsiteX4" fmla="*/ 198120 w 5257800"/>
              <a:gd name="connsiteY4" fmla="*/ 160020 h 5972496"/>
              <a:gd name="connsiteX0" fmla="*/ 198120 w 5257800"/>
              <a:gd name="connsiteY0" fmla="*/ 160020 h 5972496"/>
              <a:gd name="connsiteX1" fmla="*/ 3810000 w 5257800"/>
              <a:gd name="connsiteY1" fmla="*/ 0 h 5972496"/>
              <a:gd name="connsiteX2" fmla="*/ 5257800 w 5257800"/>
              <a:gd name="connsiteY2" fmla="*/ 5972496 h 5972496"/>
              <a:gd name="connsiteX3" fmla="*/ 0 w 5257800"/>
              <a:gd name="connsiteY3" fmla="*/ 5972496 h 5972496"/>
              <a:gd name="connsiteX4" fmla="*/ 198120 w 5257800"/>
              <a:gd name="connsiteY4" fmla="*/ 160020 h 5972496"/>
              <a:gd name="connsiteX0" fmla="*/ 198120 w 5257800"/>
              <a:gd name="connsiteY0" fmla="*/ 160020 h 5972496"/>
              <a:gd name="connsiteX1" fmla="*/ 3810000 w 5257800"/>
              <a:gd name="connsiteY1" fmla="*/ 0 h 5972496"/>
              <a:gd name="connsiteX2" fmla="*/ 5257800 w 5257800"/>
              <a:gd name="connsiteY2" fmla="*/ 5972496 h 5972496"/>
              <a:gd name="connsiteX3" fmla="*/ 0 w 5257800"/>
              <a:gd name="connsiteY3" fmla="*/ 5972496 h 5972496"/>
              <a:gd name="connsiteX4" fmla="*/ 198120 w 5257800"/>
              <a:gd name="connsiteY4" fmla="*/ 160020 h 5972496"/>
              <a:gd name="connsiteX0" fmla="*/ 198120 w 5181600"/>
              <a:gd name="connsiteY0" fmla="*/ 160020 h 5972496"/>
              <a:gd name="connsiteX1" fmla="*/ 3810000 w 5181600"/>
              <a:gd name="connsiteY1" fmla="*/ 0 h 5972496"/>
              <a:gd name="connsiteX2" fmla="*/ 5181600 w 5181600"/>
              <a:gd name="connsiteY2" fmla="*/ 3587436 h 5972496"/>
              <a:gd name="connsiteX3" fmla="*/ 0 w 5181600"/>
              <a:gd name="connsiteY3" fmla="*/ 5972496 h 5972496"/>
              <a:gd name="connsiteX4" fmla="*/ 198120 w 5181600"/>
              <a:gd name="connsiteY4" fmla="*/ 160020 h 5972496"/>
              <a:gd name="connsiteX0" fmla="*/ 198120 w 5181600"/>
              <a:gd name="connsiteY0" fmla="*/ 160020 h 5972496"/>
              <a:gd name="connsiteX1" fmla="*/ 3810000 w 5181600"/>
              <a:gd name="connsiteY1" fmla="*/ 0 h 5972496"/>
              <a:gd name="connsiteX2" fmla="*/ 5181600 w 5181600"/>
              <a:gd name="connsiteY2" fmla="*/ 3587436 h 5972496"/>
              <a:gd name="connsiteX3" fmla="*/ 0 w 5181600"/>
              <a:gd name="connsiteY3" fmla="*/ 5972496 h 5972496"/>
              <a:gd name="connsiteX4" fmla="*/ 198120 w 5181600"/>
              <a:gd name="connsiteY4" fmla="*/ 160020 h 5972496"/>
              <a:gd name="connsiteX0" fmla="*/ 198120 w 5181600"/>
              <a:gd name="connsiteY0" fmla="*/ 160020 h 5972496"/>
              <a:gd name="connsiteX1" fmla="*/ 3810000 w 5181600"/>
              <a:gd name="connsiteY1" fmla="*/ 0 h 5972496"/>
              <a:gd name="connsiteX2" fmla="*/ 5181600 w 5181600"/>
              <a:gd name="connsiteY2" fmla="*/ 3587436 h 5972496"/>
              <a:gd name="connsiteX3" fmla="*/ 0 w 5181600"/>
              <a:gd name="connsiteY3" fmla="*/ 5972496 h 5972496"/>
              <a:gd name="connsiteX4" fmla="*/ 198120 w 5181600"/>
              <a:gd name="connsiteY4" fmla="*/ 160020 h 5972496"/>
              <a:gd name="connsiteX0" fmla="*/ 198120 w 5181600"/>
              <a:gd name="connsiteY0" fmla="*/ 160020 h 5972496"/>
              <a:gd name="connsiteX1" fmla="*/ 3810000 w 5181600"/>
              <a:gd name="connsiteY1" fmla="*/ 0 h 5972496"/>
              <a:gd name="connsiteX2" fmla="*/ 5181600 w 5181600"/>
              <a:gd name="connsiteY2" fmla="*/ 3587436 h 5972496"/>
              <a:gd name="connsiteX3" fmla="*/ 3634740 w 5181600"/>
              <a:gd name="connsiteY3" fmla="*/ 4312920 h 5972496"/>
              <a:gd name="connsiteX4" fmla="*/ 0 w 5181600"/>
              <a:gd name="connsiteY4" fmla="*/ 5972496 h 5972496"/>
              <a:gd name="connsiteX5" fmla="*/ 198120 w 5181600"/>
              <a:gd name="connsiteY5" fmla="*/ 160020 h 5972496"/>
              <a:gd name="connsiteX0" fmla="*/ 198120 w 5181600"/>
              <a:gd name="connsiteY0" fmla="*/ 160020 h 5972496"/>
              <a:gd name="connsiteX1" fmla="*/ 3810000 w 5181600"/>
              <a:gd name="connsiteY1" fmla="*/ 0 h 5972496"/>
              <a:gd name="connsiteX2" fmla="*/ 5181600 w 5181600"/>
              <a:gd name="connsiteY2" fmla="*/ 3587436 h 5972496"/>
              <a:gd name="connsiteX3" fmla="*/ 3261360 w 5181600"/>
              <a:gd name="connsiteY3" fmla="*/ 3756660 h 5972496"/>
              <a:gd name="connsiteX4" fmla="*/ 0 w 5181600"/>
              <a:gd name="connsiteY4" fmla="*/ 5972496 h 5972496"/>
              <a:gd name="connsiteX5" fmla="*/ 198120 w 5181600"/>
              <a:gd name="connsiteY5" fmla="*/ 160020 h 5972496"/>
              <a:gd name="connsiteX0" fmla="*/ 198120 w 5181600"/>
              <a:gd name="connsiteY0" fmla="*/ 160020 h 5972496"/>
              <a:gd name="connsiteX1" fmla="*/ 3810000 w 5181600"/>
              <a:gd name="connsiteY1" fmla="*/ 0 h 5972496"/>
              <a:gd name="connsiteX2" fmla="*/ 5181600 w 5181600"/>
              <a:gd name="connsiteY2" fmla="*/ 3587436 h 5972496"/>
              <a:gd name="connsiteX3" fmla="*/ 3261360 w 5181600"/>
              <a:gd name="connsiteY3" fmla="*/ 3756660 h 5972496"/>
              <a:gd name="connsiteX4" fmla="*/ 2910840 w 5181600"/>
              <a:gd name="connsiteY4" fmla="*/ 3985260 h 5972496"/>
              <a:gd name="connsiteX5" fmla="*/ 0 w 5181600"/>
              <a:gd name="connsiteY5" fmla="*/ 5972496 h 5972496"/>
              <a:gd name="connsiteX6" fmla="*/ 198120 w 5181600"/>
              <a:gd name="connsiteY6" fmla="*/ 160020 h 5972496"/>
              <a:gd name="connsiteX0" fmla="*/ 198120 w 5181600"/>
              <a:gd name="connsiteY0" fmla="*/ 160020 h 5972496"/>
              <a:gd name="connsiteX1" fmla="*/ 3810000 w 5181600"/>
              <a:gd name="connsiteY1" fmla="*/ 0 h 5972496"/>
              <a:gd name="connsiteX2" fmla="*/ 5181600 w 5181600"/>
              <a:gd name="connsiteY2" fmla="*/ 3587436 h 5972496"/>
              <a:gd name="connsiteX3" fmla="*/ 3261360 w 5181600"/>
              <a:gd name="connsiteY3" fmla="*/ 3756660 h 5972496"/>
              <a:gd name="connsiteX4" fmla="*/ 2514600 w 5181600"/>
              <a:gd name="connsiteY4" fmla="*/ 998220 h 5972496"/>
              <a:gd name="connsiteX5" fmla="*/ 0 w 5181600"/>
              <a:gd name="connsiteY5" fmla="*/ 5972496 h 5972496"/>
              <a:gd name="connsiteX6" fmla="*/ 198120 w 5181600"/>
              <a:gd name="connsiteY6" fmla="*/ 160020 h 5972496"/>
              <a:gd name="connsiteX0" fmla="*/ 198120 w 5181600"/>
              <a:gd name="connsiteY0" fmla="*/ 160020 h 5972496"/>
              <a:gd name="connsiteX1" fmla="*/ 3810000 w 5181600"/>
              <a:gd name="connsiteY1" fmla="*/ 0 h 5972496"/>
              <a:gd name="connsiteX2" fmla="*/ 5181600 w 5181600"/>
              <a:gd name="connsiteY2" fmla="*/ 3587436 h 5972496"/>
              <a:gd name="connsiteX3" fmla="*/ 3261360 w 5181600"/>
              <a:gd name="connsiteY3" fmla="*/ 3756660 h 5972496"/>
              <a:gd name="connsiteX4" fmla="*/ 2514600 w 5181600"/>
              <a:gd name="connsiteY4" fmla="*/ 998220 h 5972496"/>
              <a:gd name="connsiteX5" fmla="*/ 2133600 w 5181600"/>
              <a:gd name="connsiteY5" fmla="*/ 1752600 h 5972496"/>
              <a:gd name="connsiteX6" fmla="*/ 0 w 5181600"/>
              <a:gd name="connsiteY6" fmla="*/ 5972496 h 5972496"/>
              <a:gd name="connsiteX7" fmla="*/ 198120 w 5181600"/>
              <a:gd name="connsiteY7" fmla="*/ 160020 h 5972496"/>
              <a:gd name="connsiteX0" fmla="*/ 198120 w 5181600"/>
              <a:gd name="connsiteY0" fmla="*/ 160020 h 5972496"/>
              <a:gd name="connsiteX1" fmla="*/ 3810000 w 5181600"/>
              <a:gd name="connsiteY1" fmla="*/ 0 h 5972496"/>
              <a:gd name="connsiteX2" fmla="*/ 5181600 w 5181600"/>
              <a:gd name="connsiteY2" fmla="*/ 3587436 h 5972496"/>
              <a:gd name="connsiteX3" fmla="*/ 3261360 w 5181600"/>
              <a:gd name="connsiteY3" fmla="*/ 3756660 h 5972496"/>
              <a:gd name="connsiteX4" fmla="*/ 2514600 w 5181600"/>
              <a:gd name="connsiteY4" fmla="*/ 998220 h 5972496"/>
              <a:gd name="connsiteX5" fmla="*/ 2042160 w 5181600"/>
              <a:gd name="connsiteY5" fmla="*/ 1097280 h 5972496"/>
              <a:gd name="connsiteX6" fmla="*/ 0 w 5181600"/>
              <a:gd name="connsiteY6" fmla="*/ 5972496 h 5972496"/>
              <a:gd name="connsiteX7" fmla="*/ 198120 w 5181600"/>
              <a:gd name="connsiteY7" fmla="*/ 160020 h 5972496"/>
              <a:gd name="connsiteX0" fmla="*/ 198120 w 5181600"/>
              <a:gd name="connsiteY0" fmla="*/ 160020 h 5972496"/>
              <a:gd name="connsiteX1" fmla="*/ 3810000 w 5181600"/>
              <a:gd name="connsiteY1" fmla="*/ 0 h 5972496"/>
              <a:gd name="connsiteX2" fmla="*/ 5181600 w 5181600"/>
              <a:gd name="connsiteY2" fmla="*/ 3587436 h 5972496"/>
              <a:gd name="connsiteX3" fmla="*/ 3261360 w 5181600"/>
              <a:gd name="connsiteY3" fmla="*/ 3756660 h 5972496"/>
              <a:gd name="connsiteX4" fmla="*/ 2514600 w 5181600"/>
              <a:gd name="connsiteY4" fmla="*/ 998220 h 5972496"/>
              <a:gd name="connsiteX5" fmla="*/ 2042160 w 5181600"/>
              <a:gd name="connsiteY5" fmla="*/ 1097280 h 5972496"/>
              <a:gd name="connsiteX6" fmla="*/ 0 w 5181600"/>
              <a:gd name="connsiteY6" fmla="*/ 5972496 h 5972496"/>
              <a:gd name="connsiteX7" fmla="*/ 198120 w 5181600"/>
              <a:gd name="connsiteY7" fmla="*/ 160020 h 5972496"/>
              <a:gd name="connsiteX0" fmla="*/ 198120 w 5181600"/>
              <a:gd name="connsiteY0" fmla="*/ 160020 h 5972496"/>
              <a:gd name="connsiteX1" fmla="*/ 3810000 w 5181600"/>
              <a:gd name="connsiteY1" fmla="*/ 0 h 5972496"/>
              <a:gd name="connsiteX2" fmla="*/ 5181600 w 5181600"/>
              <a:gd name="connsiteY2" fmla="*/ 3587436 h 5972496"/>
              <a:gd name="connsiteX3" fmla="*/ 3261360 w 5181600"/>
              <a:gd name="connsiteY3" fmla="*/ 3756660 h 5972496"/>
              <a:gd name="connsiteX4" fmla="*/ 2514600 w 5181600"/>
              <a:gd name="connsiteY4" fmla="*/ 998220 h 5972496"/>
              <a:gd name="connsiteX5" fmla="*/ 2042160 w 5181600"/>
              <a:gd name="connsiteY5" fmla="*/ 1097280 h 5972496"/>
              <a:gd name="connsiteX6" fmla="*/ 0 w 5181600"/>
              <a:gd name="connsiteY6" fmla="*/ 5972496 h 5972496"/>
              <a:gd name="connsiteX7" fmla="*/ 198120 w 5181600"/>
              <a:gd name="connsiteY7" fmla="*/ 160020 h 5972496"/>
              <a:gd name="connsiteX0" fmla="*/ 198120 w 5181600"/>
              <a:gd name="connsiteY0" fmla="*/ 160020 h 5972496"/>
              <a:gd name="connsiteX1" fmla="*/ 3810000 w 5181600"/>
              <a:gd name="connsiteY1" fmla="*/ 0 h 5972496"/>
              <a:gd name="connsiteX2" fmla="*/ 5181600 w 5181600"/>
              <a:gd name="connsiteY2" fmla="*/ 3587436 h 5972496"/>
              <a:gd name="connsiteX3" fmla="*/ 3261360 w 5181600"/>
              <a:gd name="connsiteY3" fmla="*/ 3756660 h 5972496"/>
              <a:gd name="connsiteX4" fmla="*/ 2514600 w 5181600"/>
              <a:gd name="connsiteY4" fmla="*/ 998220 h 5972496"/>
              <a:gd name="connsiteX5" fmla="*/ 2042160 w 5181600"/>
              <a:gd name="connsiteY5" fmla="*/ 1097280 h 5972496"/>
              <a:gd name="connsiteX6" fmla="*/ 1173480 w 5181600"/>
              <a:gd name="connsiteY6" fmla="*/ 3200400 h 5972496"/>
              <a:gd name="connsiteX7" fmla="*/ 0 w 5181600"/>
              <a:gd name="connsiteY7" fmla="*/ 5972496 h 5972496"/>
              <a:gd name="connsiteX8" fmla="*/ 198120 w 5181600"/>
              <a:gd name="connsiteY8" fmla="*/ 160020 h 5972496"/>
              <a:gd name="connsiteX0" fmla="*/ 198120 w 5181600"/>
              <a:gd name="connsiteY0" fmla="*/ 160020 h 5972496"/>
              <a:gd name="connsiteX1" fmla="*/ 3810000 w 5181600"/>
              <a:gd name="connsiteY1" fmla="*/ 0 h 5972496"/>
              <a:gd name="connsiteX2" fmla="*/ 5181600 w 5181600"/>
              <a:gd name="connsiteY2" fmla="*/ 3587436 h 5972496"/>
              <a:gd name="connsiteX3" fmla="*/ 3261360 w 5181600"/>
              <a:gd name="connsiteY3" fmla="*/ 3756660 h 5972496"/>
              <a:gd name="connsiteX4" fmla="*/ 2514600 w 5181600"/>
              <a:gd name="connsiteY4" fmla="*/ 998220 h 5972496"/>
              <a:gd name="connsiteX5" fmla="*/ 2042160 w 5181600"/>
              <a:gd name="connsiteY5" fmla="*/ 1097280 h 5972496"/>
              <a:gd name="connsiteX6" fmla="*/ 2225040 w 5181600"/>
              <a:gd name="connsiteY6" fmla="*/ 5882640 h 5972496"/>
              <a:gd name="connsiteX7" fmla="*/ 0 w 5181600"/>
              <a:gd name="connsiteY7" fmla="*/ 5972496 h 5972496"/>
              <a:gd name="connsiteX8" fmla="*/ 198120 w 5181600"/>
              <a:gd name="connsiteY8" fmla="*/ 160020 h 5972496"/>
              <a:gd name="connsiteX0" fmla="*/ 0 w 4983480"/>
              <a:gd name="connsiteY0" fmla="*/ 160020 h 5911536"/>
              <a:gd name="connsiteX1" fmla="*/ 3611880 w 4983480"/>
              <a:gd name="connsiteY1" fmla="*/ 0 h 5911536"/>
              <a:gd name="connsiteX2" fmla="*/ 4983480 w 4983480"/>
              <a:gd name="connsiteY2" fmla="*/ 3587436 h 5911536"/>
              <a:gd name="connsiteX3" fmla="*/ 3063240 w 4983480"/>
              <a:gd name="connsiteY3" fmla="*/ 3756660 h 5911536"/>
              <a:gd name="connsiteX4" fmla="*/ 2316480 w 4983480"/>
              <a:gd name="connsiteY4" fmla="*/ 998220 h 5911536"/>
              <a:gd name="connsiteX5" fmla="*/ 1844040 w 4983480"/>
              <a:gd name="connsiteY5" fmla="*/ 1097280 h 5911536"/>
              <a:gd name="connsiteX6" fmla="*/ 2026920 w 4983480"/>
              <a:gd name="connsiteY6" fmla="*/ 5882640 h 5911536"/>
              <a:gd name="connsiteX7" fmla="*/ 883920 w 4983480"/>
              <a:gd name="connsiteY7" fmla="*/ 5911536 h 5911536"/>
              <a:gd name="connsiteX8" fmla="*/ 0 w 4983480"/>
              <a:gd name="connsiteY8" fmla="*/ 160020 h 5911536"/>
              <a:gd name="connsiteX0" fmla="*/ 0 w 4983480"/>
              <a:gd name="connsiteY0" fmla="*/ 160020 h 5911536"/>
              <a:gd name="connsiteX1" fmla="*/ 3611880 w 4983480"/>
              <a:gd name="connsiteY1" fmla="*/ 0 h 5911536"/>
              <a:gd name="connsiteX2" fmla="*/ 4983480 w 4983480"/>
              <a:gd name="connsiteY2" fmla="*/ 3587436 h 5911536"/>
              <a:gd name="connsiteX3" fmla="*/ 3063240 w 4983480"/>
              <a:gd name="connsiteY3" fmla="*/ 3756660 h 5911536"/>
              <a:gd name="connsiteX4" fmla="*/ 2316480 w 4983480"/>
              <a:gd name="connsiteY4" fmla="*/ 998220 h 5911536"/>
              <a:gd name="connsiteX5" fmla="*/ 1844040 w 4983480"/>
              <a:gd name="connsiteY5" fmla="*/ 1097280 h 5911536"/>
              <a:gd name="connsiteX6" fmla="*/ 2026920 w 4983480"/>
              <a:gd name="connsiteY6" fmla="*/ 5882640 h 5911536"/>
              <a:gd name="connsiteX7" fmla="*/ 883920 w 4983480"/>
              <a:gd name="connsiteY7" fmla="*/ 5911536 h 5911536"/>
              <a:gd name="connsiteX8" fmla="*/ 708660 w 4983480"/>
              <a:gd name="connsiteY8" fmla="*/ 4770120 h 5911536"/>
              <a:gd name="connsiteX9" fmla="*/ 0 w 4983480"/>
              <a:gd name="connsiteY9" fmla="*/ 160020 h 5911536"/>
              <a:gd name="connsiteX0" fmla="*/ 0 w 4983480"/>
              <a:gd name="connsiteY0" fmla="*/ 160020 h 5911536"/>
              <a:gd name="connsiteX1" fmla="*/ 3611880 w 4983480"/>
              <a:gd name="connsiteY1" fmla="*/ 0 h 5911536"/>
              <a:gd name="connsiteX2" fmla="*/ 4983480 w 4983480"/>
              <a:gd name="connsiteY2" fmla="*/ 3587436 h 5911536"/>
              <a:gd name="connsiteX3" fmla="*/ 3063240 w 4983480"/>
              <a:gd name="connsiteY3" fmla="*/ 3756660 h 5911536"/>
              <a:gd name="connsiteX4" fmla="*/ 2316480 w 4983480"/>
              <a:gd name="connsiteY4" fmla="*/ 998220 h 5911536"/>
              <a:gd name="connsiteX5" fmla="*/ 1844040 w 4983480"/>
              <a:gd name="connsiteY5" fmla="*/ 1097280 h 5911536"/>
              <a:gd name="connsiteX6" fmla="*/ 2026920 w 4983480"/>
              <a:gd name="connsiteY6" fmla="*/ 5882640 h 5911536"/>
              <a:gd name="connsiteX7" fmla="*/ 883920 w 4983480"/>
              <a:gd name="connsiteY7" fmla="*/ 5911536 h 5911536"/>
              <a:gd name="connsiteX8" fmla="*/ 129540 w 4983480"/>
              <a:gd name="connsiteY8" fmla="*/ 5341620 h 5911536"/>
              <a:gd name="connsiteX9" fmla="*/ 0 w 4983480"/>
              <a:gd name="connsiteY9" fmla="*/ 160020 h 5911536"/>
              <a:gd name="connsiteX0" fmla="*/ 0 w 4983480"/>
              <a:gd name="connsiteY0" fmla="*/ 160020 h 5911536"/>
              <a:gd name="connsiteX1" fmla="*/ 3611880 w 4983480"/>
              <a:gd name="connsiteY1" fmla="*/ 0 h 5911536"/>
              <a:gd name="connsiteX2" fmla="*/ 4983480 w 4983480"/>
              <a:gd name="connsiteY2" fmla="*/ 3587436 h 5911536"/>
              <a:gd name="connsiteX3" fmla="*/ 3063240 w 4983480"/>
              <a:gd name="connsiteY3" fmla="*/ 3756660 h 5911536"/>
              <a:gd name="connsiteX4" fmla="*/ 2316480 w 4983480"/>
              <a:gd name="connsiteY4" fmla="*/ 998220 h 5911536"/>
              <a:gd name="connsiteX5" fmla="*/ 1844040 w 4983480"/>
              <a:gd name="connsiteY5" fmla="*/ 1097280 h 5911536"/>
              <a:gd name="connsiteX6" fmla="*/ 2026920 w 4983480"/>
              <a:gd name="connsiteY6" fmla="*/ 5882640 h 5911536"/>
              <a:gd name="connsiteX7" fmla="*/ 883920 w 4983480"/>
              <a:gd name="connsiteY7" fmla="*/ 5911536 h 5911536"/>
              <a:gd name="connsiteX8" fmla="*/ 129540 w 4983480"/>
              <a:gd name="connsiteY8" fmla="*/ 5341620 h 5911536"/>
              <a:gd name="connsiteX9" fmla="*/ 91440 w 4983480"/>
              <a:gd name="connsiteY9" fmla="*/ 3817620 h 5911536"/>
              <a:gd name="connsiteX10" fmla="*/ 0 w 4983480"/>
              <a:gd name="connsiteY10" fmla="*/ 160020 h 5911536"/>
              <a:gd name="connsiteX0" fmla="*/ 0 w 4983480"/>
              <a:gd name="connsiteY0" fmla="*/ 160020 h 5911536"/>
              <a:gd name="connsiteX1" fmla="*/ 3611880 w 4983480"/>
              <a:gd name="connsiteY1" fmla="*/ 0 h 5911536"/>
              <a:gd name="connsiteX2" fmla="*/ 4983480 w 4983480"/>
              <a:gd name="connsiteY2" fmla="*/ 3587436 h 5911536"/>
              <a:gd name="connsiteX3" fmla="*/ 3063240 w 4983480"/>
              <a:gd name="connsiteY3" fmla="*/ 3756660 h 5911536"/>
              <a:gd name="connsiteX4" fmla="*/ 2316480 w 4983480"/>
              <a:gd name="connsiteY4" fmla="*/ 998220 h 5911536"/>
              <a:gd name="connsiteX5" fmla="*/ 1844040 w 4983480"/>
              <a:gd name="connsiteY5" fmla="*/ 1097280 h 5911536"/>
              <a:gd name="connsiteX6" fmla="*/ 2026920 w 4983480"/>
              <a:gd name="connsiteY6" fmla="*/ 5882640 h 5911536"/>
              <a:gd name="connsiteX7" fmla="*/ 883920 w 4983480"/>
              <a:gd name="connsiteY7" fmla="*/ 5911536 h 5911536"/>
              <a:gd name="connsiteX8" fmla="*/ 129540 w 4983480"/>
              <a:gd name="connsiteY8" fmla="*/ 5341620 h 5911536"/>
              <a:gd name="connsiteX9" fmla="*/ 91440 w 4983480"/>
              <a:gd name="connsiteY9" fmla="*/ 4114800 h 5911536"/>
              <a:gd name="connsiteX10" fmla="*/ 0 w 4983480"/>
              <a:gd name="connsiteY10" fmla="*/ 160020 h 5911536"/>
              <a:gd name="connsiteX0" fmla="*/ 0 w 4983480"/>
              <a:gd name="connsiteY0" fmla="*/ 160020 h 5911536"/>
              <a:gd name="connsiteX1" fmla="*/ 3611880 w 4983480"/>
              <a:gd name="connsiteY1" fmla="*/ 0 h 5911536"/>
              <a:gd name="connsiteX2" fmla="*/ 4983480 w 4983480"/>
              <a:gd name="connsiteY2" fmla="*/ 3587436 h 5911536"/>
              <a:gd name="connsiteX3" fmla="*/ 3063240 w 4983480"/>
              <a:gd name="connsiteY3" fmla="*/ 3756660 h 5911536"/>
              <a:gd name="connsiteX4" fmla="*/ 2316480 w 4983480"/>
              <a:gd name="connsiteY4" fmla="*/ 998220 h 5911536"/>
              <a:gd name="connsiteX5" fmla="*/ 1844040 w 4983480"/>
              <a:gd name="connsiteY5" fmla="*/ 1097280 h 5911536"/>
              <a:gd name="connsiteX6" fmla="*/ 2026920 w 4983480"/>
              <a:gd name="connsiteY6" fmla="*/ 5882640 h 5911536"/>
              <a:gd name="connsiteX7" fmla="*/ 883920 w 4983480"/>
              <a:gd name="connsiteY7" fmla="*/ 5911536 h 5911536"/>
              <a:gd name="connsiteX8" fmla="*/ 129540 w 4983480"/>
              <a:gd name="connsiteY8" fmla="*/ 5341620 h 5911536"/>
              <a:gd name="connsiteX9" fmla="*/ 91440 w 4983480"/>
              <a:gd name="connsiteY9" fmla="*/ 4114800 h 5911536"/>
              <a:gd name="connsiteX10" fmla="*/ 83820 w 4983480"/>
              <a:gd name="connsiteY10" fmla="*/ 3718560 h 5911536"/>
              <a:gd name="connsiteX11" fmla="*/ 0 w 4983480"/>
              <a:gd name="connsiteY11" fmla="*/ 160020 h 5911536"/>
              <a:gd name="connsiteX0" fmla="*/ 0 w 4983480"/>
              <a:gd name="connsiteY0" fmla="*/ 160020 h 5911536"/>
              <a:gd name="connsiteX1" fmla="*/ 3611880 w 4983480"/>
              <a:gd name="connsiteY1" fmla="*/ 0 h 5911536"/>
              <a:gd name="connsiteX2" fmla="*/ 4983480 w 4983480"/>
              <a:gd name="connsiteY2" fmla="*/ 3587436 h 5911536"/>
              <a:gd name="connsiteX3" fmla="*/ 3063240 w 4983480"/>
              <a:gd name="connsiteY3" fmla="*/ 3756660 h 5911536"/>
              <a:gd name="connsiteX4" fmla="*/ 2316480 w 4983480"/>
              <a:gd name="connsiteY4" fmla="*/ 998220 h 5911536"/>
              <a:gd name="connsiteX5" fmla="*/ 1844040 w 4983480"/>
              <a:gd name="connsiteY5" fmla="*/ 1097280 h 5911536"/>
              <a:gd name="connsiteX6" fmla="*/ 2026920 w 4983480"/>
              <a:gd name="connsiteY6" fmla="*/ 5882640 h 5911536"/>
              <a:gd name="connsiteX7" fmla="*/ 883920 w 4983480"/>
              <a:gd name="connsiteY7" fmla="*/ 5911536 h 5911536"/>
              <a:gd name="connsiteX8" fmla="*/ 129540 w 4983480"/>
              <a:gd name="connsiteY8" fmla="*/ 5341620 h 5911536"/>
              <a:gd name="connsiteX9" fmla="*/ 91440 w 4983480"/>
              <a:gd name="connsiteY9" fmla="*/ 4114800 h 5911536"/>
              <a:gd name="connsiteX10" fmla="*/ 83820 w 4983480"/>
              <a:gd name="connsiteY10" fmla="*/ 3718560 h 5911536"/>
              <a:gd name="connsiteX11" fmla="*/ 83820 w 4983480"/>
              <a:gd name="connsiteY11" fmla="*/ 3718560 h 5911536"/>
              <a:gd name="connsiteX12" fmla="*/ 0 w 4983480"/>
              <a:gd name="connsiteY12" fmla="*/ 160020 h 5911536"/>
              <a:gd name="connsiteX0" fmla="*/ 0 w 4983480"/>
              <a:gd name="connsiteY0" fmla="*/ 160020 h 5911536"/>
              <a:gd name="connsiteX1" fmla="*/ 3611880 w 4983480"/>
              <a:gd name="connsiteY1" fmla="*/ 0 h 5911536"/>
              <a:gd name="connsiteX2" fmla="*/ 4983480 w 4983480"/>
              <a:gd name="connsiteY2" fmla="*/ 3587436 h 5911536"/>
              <a:gd name="connsiteX3" fmla="*/ 3063240 w 4983480"/>
              <a:gd name="connsiteY3" fmla="*/ 3756660 h 5911536"/>
              <a:gd name="connsiteX4" fmla="*/ 2316480 w 4983480"/>
              <a:gd name="connsiteY4" fmla="*/ 998220 h 5911536"/>
              <a:gd name="connsiteX5" fmla="*/ 1844040 w 4983480"/>
              <a:gd name="connsiteY5" fmla="*/ 1097280 h 5911536"/>
              <a:gd name="connsiteX6" fmla="*/ 2026920 w 4983480"/>
              <a:gd name="connsiteY6" fmla="*/ 5882640 h 5911536"/>
              <a:gd name="connsiteX7" fmla="*/ 883920 w 4983480"/>
              <a:gd name="connsiteY7" fmla="*/ 5911536 h 5911536"/>
              <a:gd name="connsiteX8" fmla="*/ 129540 w 4983480"/>
              <a:gd name="connsiteY8" fmla="*/ 5341620 h 5911536"/>
              <a:gd name="connsiteX9" fmla="*/ 91440 w 4983480"/>
              <a:gd name="connsiteY9" fmla="*/ 4114800 h 5911536"/>
              <a:gd name="connsiteX10" fmla="*/ 83820 w 4983480"/>
              <a:gd name="connsiteY10" fmla="*/ 3718560 h 5911536"/>
              <a:gd name="connsiteX11" fmla="*/ 556260 w 4983480"/>
              <a:gd name="connsiteY11" fmla="*/ 4053840 h 5911536"/>
              <a:gd name="connsiteX12" fmla="*/ 0 w 4983480"/>
              <a:gd name="connsiteY12" fmla="*/ 160020 h 5911536"/>
              <a:gd name="connsiteX0" fmla="*/ 0 w 4983480"/>
              <a:gd name="connsiteY0" fmla="*/ 160020 h 5911536"/>
              <a:gd name="connsiteX1" fmla="*/ 3611880 w 4983480"/>
              <a:gd name="connsiteY1" fmla="*/ 0 h 5911536"/>
              <a:gd name="connsiteX2" fmla="*/ 4983480 w 4983480"/>
              <a:gd name="connsiteY2" fmla="*/ 3587436 h 5911536"/>
              <a:gd name="connsiteX3" fmla="*/ 3063240 w 4983480"/>
              <a:gd name="connsiteY3" fmla="*/ 3756660 h 5911536"/>
              <a:gd name="connsiteX4" fmla="*/ 2316480 w 4983480"/>
              <a:gd name="connsiteY4" fmla="*/ 998220 h 5911536"/>
              <a:gd name="connsiteX5" fmla="*/ 1844040 w 4983480"/>
              <a:gd name="connsiteY5" fmla="*/ 1097280 h 5911536"/>
              <a:gd name="connsiteX6" fmla="*/ 2026920 w 4983480"/>
              <a:gd name="connsiteY6" fmla="*/ 5882640 h 5911536"/>
              <a:gd name="connsiteX7" fmla="*/ 883920 w 4983480"/>
              <a:gd name="connsiteY7" fmla="*/ 5911536 h 5911536"/>
              <a:gd name="connsiteX8" fmla="*/ 129540 w 4983480"/>
              <a:gd name="connsiteY8" fmla="*/ 5341620 h 5911536"/>
              <a:gd name="connsiteX9" fmla="*/ 91440 w 4983480"/>
              <a:gd name="connsiteY9" fmla="*/ 4114800 h 5911536"/>
              <a:gd name="connsiteX10" fmla="*/ 99060 w 4983480"/>
              <a:gd name="connsiteY10" fmla="*/ 4091940 h 5911536"/>
              <a:gd name="connsiteX11" fmla="*/ 556260 w 4983480"/>
              <a:gd name="connsiteY11" fmla="*/ 4053840 h 5911536"/>
              <a:gd name="connsiteX12" fmla="*/ 0 w 4983480"/>
              <a:gd name="connsiteY12" fmla="*/ 160020 h 5911536"/>
              <a:gd name="connsiteX0" fmla="*/ 0 w 4983480"/>
              <a:gd name="connsiteY0" fmla="*/ 160020 h 5911536"/>
              <a:gd name="connsiteX1" fmla="*/ 3611880 w 4983480"/>
              <a:gd name="connsiteY1" fmla="*/ 0 h 5911536"/>
              <a:gd name="connsiteX2" fmla="*/ 4983480 w 4983480"/>
              <a:gd name="connsiteY2" fmla="*/ 3587436 h 5911536"/>
              <a:gd name="connsiteX3" fmla="*/ 3063240 w 4983480"/>
              <a:gd name="connsiteY3" fmla="*/ 3756660 h 5911536"/>
              <a:gd name="connsiteX4" fmla="*/ 2316480 w 4983480"/>
              <a:gd name="connsiteY4" fmla="*/ 998220 h 5911536"/>
              <a:gd name="connsiteX5" fmla="*/ 1844040 w 4983480"/>
              <a:gd name="connsiteY5" fmla="*/ 1097280 h 5911536"/>
              <a:gd name="connsiteX6" fmla="*/ 2026920 w 4983480"/>
              <a:gd name="connsiteY6" fmla="*/ 5882640 h 5911536"/>
              <a:gd name="connsiteX7" fmla="*/ 883920 w 4983480"/>
              <a:gd name="connsiteY7" fmla="*/ 5911536 h 5911536"/>
              <a:gd name="connsiteX8" fmla="*/ 129540 w 4983480"/>
              <a:gd name="connsiteY8" fmla="*/ 5341620 h 5911536"/>
              <a:gd name="connsiteX9" fmla="*/ 91440 w 4983480"/>
              <a:gd name="connsiteY9" fmla="*/ 4114800 h 5911536"/>
              <a:gd name="connsiteX10" fmla="*/ 99060 w 4983480"/>
              <a:gd name="connsiteY10" fmla="*/ 4091940 h 5911536"/>
              <a:gd name="connsiteX11" fmla="*/ 556260 w 4983480"/>
              <a:gd name="connsiteY11" fmla="*/ 4053840 h 5911536"/>
              <a:gd name="connsiteX12" fmla="*/ 281940 w 4983480"/>
              <a:gd name="connsiteY12" fmla="*/ 2194560 h 5911536"/>
              <a:gd name="connsiteX13" fmla="*/ 0 w 4983480"/>
              <a:gd name="connsiteY13" fmla="*/ 160020 h 5911536"/>
              <a:gd name="connsiteX0" fmla="*/ 0 w 4983480"/>
              <a:gd name="connsiteY0" fmla="*/ 160020 h 5911536"/>
              <a:gd name="connsiteX1" fmla="*/ 3611880 w 4983480"/>
              <a:gd name="connsiteY1" fmla="*/ 0 h 5911536"/>
              <a:gd name="connsiteX2" fmla="*/ 4983480 w 4983480"/>
              <a:gd name="connsiteY2" fmla="*/ 3587436 h 5911536"/>
              <a:gd name="connsiteX3" fmla="*/ 3063240 w 4983480"/>
              <a:gd name="connsiteY3" fmla="*/ 3756660 h 5911536"/>
              <a:gd name="connsiteX4" fmla="*/ 2316480 w 4983480"/>
              <a:gd name="connsiteY4" fmla="*/ 998220 h 5911536"/>
              <a:gd name="connsiteX5" fmla="*/ 1844040 w 4983480"/>
              <a:gd name="connsiteY5" fmla="*/ 1097280 h 5911536"/>
              <a:gd name="connsiteX6" fmla="*/ 2026920 w 4983480"/>
              <a:gd name="connsiteY6" fmla="*/ 5882640 h 5911536"/>
              <a:gd name="connsiteX7" fmla="*/ 883920 w 4983480"/>
              <a:gd name="connsiteY7" fmla="*/ 5911536 h 5911536"/>
              <a:gd name="connsiteX8" fmla="*/ 129540 w 4983480"/>
              <a:gd name="connsiteY8" fmla="*/ 5341620 h 5911536"/>
              <a:gd name="connsiteX9" fmla="*/ 91440 w 4983480"/>
              <a:gd name="connsiteY9" fmla="*/ 4114800 h 5911536"/>
              <a:gd name="connsiteX10" fmla="*/ 99060 w 4983480"/>
              <a:gd name="connsiteY10" fmla="*/ 4091940 h 5911536"/>
              <a:gd name="connsiteX11" fmla="*/ 556260 w 4983480"/>
              <a:gd name="connsiteY11" fmla="*/ 4053840 h 5911536"/>
              <a:gd name="connsiteX12" fmla="*/ 502920 w 4983480"/>
              <a:gd name="connsiteY12" fmla="*/ 1943100 h 5911536"/>
              <a:gd name="connsiteX13" fmla="*/ 0 w 4983480"/>
              <a:gd name="connsiteY13" fmla="*/ 160020 h 5911536"/>
              <a:gd name="connsiteX0" fmla="*/ 0 w 4983480"/>
              <a:gd name="connsiteY0" fmla="*/ 160020 h 5911536"/>
              <a:gd name="connsiteX1" fmla="*/ 3611880 w 4983480"/>
              <a:gd name="connsiteY1" fmla="*/ 0 h 5911536"/>
              <a:gd name="connsiteX2" fmla="*/ 4983480 w 4983480"/>
              <a:gd name="connsiteY2" fmla="*/ 3587436 h 5911536"/>
              <a:gd name="connsiteX3" fmla="*/ 3063240 w 4983480"/>
              <a:gd name="connsiteY3" fmla="*/ 3756660 h 5911536"/>
              <a:gd name="connsiteX4" fmla="*/ 2316480 w 4983480"/>
              <a:gd name="connsiteY4" fmla="*/ 998220 h 5911536"/>
              <a:gd name="connsiteX5" fmla="*/ 1844040 w 4983480"/>
              <a:gd name="connsiteY5" fmla="*/ 1097280 h 5911536"/>
              <a:gd name="connsiteX6" fmla="*/ 2026920 w 4983480"/>
              <a:gd name="connsiteY6" fmla="*/ 5882640 h 5911536"/>
              <a:gd name="connsiteX7" fmla="*/ 883920 w 4983480"/>
              <a:gd name="connsiteY7" fmla="*/ 5911536 h 5911536"/>
              <a:gd name="connsiteX8" fmla="*/ 129540 w 4983480"/>
              <a:gd name="connsiteY8" fmla="*/ 5341620 h 5911536"/>
              <a:gd name="connsiteX9" fmla="*/ 91440 w 4983480"/>
              <a:gd name="connsiteY9" fmla="*/ 4114800 h 5911536"/>
              <a:gd name="connsiteX10" fmla="*/ 99060 w 4983480"/>
              <a:gd name="connsiteY10" fmla="*/ 4091940 h 5911536"/>
              <a:gd name="connsiteX11" fmla="*/ 556260 w 4983480"/>
              <a:gd name="connsiteY11" fmla="*/ 4053840 h 5911536"/>
              <a:gd name="connsiteX12" fmla="*/ 502920 w 4983480"/>
              <a:gd name="connsiteY12" fmla="*/ 1943100 h 5911536"/>
              <a:gd name="connsiteX13" fmla="*/ 0 w 4983480"/>
              <a:gd name="connsiteY13" fmla="*/ 160020 h 5911536"/>
              <a:gd name="connsiteX0" fmla="*/ 0 w 4983480"/>
              <a:gd name="connsiteY0" fmla="*/ 160020 h 5911536"/>
              <a:gd name="connsiteX1" fmla="*/ 3611880 w 4983480"/>
              <a:gd name="connsiteY1" fmla="*/ 0 h 5911536"/>
              <a:gd name="connsiteX2" fmla="*/ 4983480 w 4983480"/>
              <a:gd name="connsiteY2" fmla="*/ 3587436 h 5911536"/>
              <a:gd name="connsiteX3" fmla="*/ 3063240 w 4983480"/>
              <a:gd name="connsiteY3" fmla="*/ 3756660 h 5911536"/>
              <a:gd name="connsiteX4" fmla="*/ 2316480 w 4983480"/>
              <a:gd name="connsiteY4" fmla="*/ 998220 h 5911536"/>
              <a:gd name="connsiteX5" fmla="*/ 1844040 w 4983480"/>
              <a:gd name="connsiteY5" fmla="*/ 1097280 h 5911536"/>
              <a:gd name="connsiteX6" fmla="*/ 2026920 w 4983480"/>
              <a:gd name="connsiteY6" fmla="*/ 5882640 h 5911536"/>
              <a:gd name="connsiteX7" fmla="*/ 883920 w 4983480"/>
              <a:gd name="connsiteY7" fmla="*/ 5911536 h 5911536"/>
              <a:gd name="connsiteX8" fmla="*/ 129540 w 4983480"/>
              <a:gd name="connsiteY8" fmla="*/ 5341620 h 5911536"/>
              <a:gd name="connsiteX9" fmla="*/ 91440 w 4983480"/>
              <a:gd name="connsiteY9" fmla="*/ 4114800 h 5911536"/>
              <a:gd name="connsiteX10" fmla="*/ 99060 w 4983480"/>
              <a:gd name="connsiteY10" fmla="*/ 4091940 h 5911536"/>
              <a:gd name="connsiteX11" fmla="*/ 556260 w 4983480"/>
              <a:gd name="connsiteY11" fmla="*/ 4053840 h 5911536"/>
              <a:gd name="connsiteX12" fmla="*/ 502920 w 4983480"/>
              <a:gd name="connsiteY12" fmla="*/ 1943100 h 5911536"/>
              <a:gd name="connsiteX13" fmla="*/ 0 w 4983480"/>
              <a:gd name="connsiteY13" fmla="*/ 160020 h 5911536"/>
              <a:gd name="connsiteX0" fmla="*/ 0 w 4983480"/>
              <a:gd name="connsiteY0" fmla="*/ 160020 h 5911536"/>
              <a:gd name="connsiteX1" fmla="*/ 3611880 w 4983480"/>
              <a:gd name="connsiteY1" fmla="*/ 0 h 5911536"/>
              <a:gd name="connsiteX2" fmla="*/ 4983480 w 4983480"/>
              <a:gd name="connsiteY2" fmla="*/ 3587436 h 5911536"/>
              <a:gd name="connsiteX3" fmla="*/ 3063240 w 4983480"/>
              <a:gd name="connsiteY3" fmla="*/ 3756660 h 5911536"/>
              <a:gd name="connsiteX4" fmla="*/ 2316480 w 4983480"/>
              <a:gd name="connsiteY4" fmla="*/ 998220 h 5911536"/>
              <a:gd name="connsiteX5" fmla="*/ 1844040 w 4983480"/>
              <a:gd name="connsiteY5" fmla="*/ 1097280 h 5911536"/>
              <a:gd name="connsiteX6" fmla="*/ 2026920 w 4983480"/>
              <a:gd name="connsiteY6" fmla="*/ 5882640 h 5911536"/>
              <a:gd name="connsiteX7" fmla="*/ 883920 w 4983480"/>
              <a:gd name="connsiteY7" fmla="*/ 5911536 h 5911536"/>
              <a:gd name="connsiteX8" fmla="*/ 129540 w 4983480"/>
              <a:gd name="connsiteY8" fmla="*/ 5341620 h 5911536"/>
              <a:gd name="connsiteX9" fmla="*/ 91440 w 4983480"/>
              <a:gd name="connsiteY9" fmla="*/ 4114800 h 5911536"/>
              <a:gd name="connsiteX10" fmla="*/ 99060 w 4983480"/>
              <a:gd name="connsiteY10" fmla="*/ 4091940 h 5911536"/>
              <a:gd name="connsiteX11" fmla="*/ 556260 w 4983480"/>
              <a:gd name="connsiteY11" fmla="*/ 4053840 h 5911536"/>
              <a:gd name="connsiteX12" fmla="*/ 502920 w 4983480"/>
              <a:gd name="connsiteY12" fmla="*/ 1943100 h 5911536"/>
              <a:gd name="connsiteX13" fmla="*/ 281940 w 4983480"/>
              <a:gd name="connsiteY13" fmla="*/ 1135380 h 5911536"/>
              <a:gd name="connsiteX14" fmla="*/ 0 w 4983480"/>
              <a:gd name="connsiteY14" fmla="*/ 160020 h 5911536"/>
              <a:gd name="connsiteX0" fmla="*/ 0 w 4983480"/>
              <a:gd name="connsiteY0" fmla="*/ 160020 h 5911536"/>
              <a:gd name="connsiteX1" fmla="*/ 3611880 w 4983480"/>
              <a:gd name="connsiteY1" fmla="*/ 0 h 5911536"/>
              <a:gd name="connsiteX2" fmla="*/ 4983480 w 4983480"/>
              <a:gd name="connsiteY2" fmla="*/ 3587436 h 5911536"/>
              <a:gd name="connsiteX3" fmla="*/ 3063240 w 4983480"/>
              <a:gd name="connsiteY3" fmla="*/ 3756660 h 5911536"/>
              <a:gd name="connsiteX4" fmla="*/ 2316480 w 4983480"/>
              <a:gd name="connsiteY4" fmla="*/ 998220 h 5911536"/>
              <a:gd name="connsiteX5" fmla="*/ 1844040 w 4983480"/>
              <a:gd name="connsiteY5" fmla="*/ 1097280 h 5911536"/>
              <a:gd name="connsiteX6" fmla="*/ 2026920 w 4983480"/>
              <a:gd name="connsiteY6" fmla="*/ 5882640 h 5911536"/>
              <a:gd name="connsiteX7" fmla="*/ 883920 w 4983480"/>
              <a:gd name="connsiteY7" fmla="*/ 5911536 h 5911536"/>
              <a:gd name="connsiteX8" fmla="*/ 129540 w 4983480"/>
              <a:gd name="connsiteY8" fmla="*/ 5341620 h 5911536"/>
              <a:gd name="connsiteX9" fmla="*/ 91440 w 4983480"/>
              <a:gd name="connsiteY9" fmla="*/ 4114800 h 5911536"/>
              <a:gd name="connsiteX10" fmla="*/ 99060 w 4983480"/>
              <a:gd name="connsiteY10" fmla="*/ 4091940 h 5911536"/>
              <a:gd name="connsiteX11" fmla="*/ 556260 w 4983480"/>
              <a:gd name="connsiteY11" fmla="*/ 4053840 h 5911536"/>
              <a:gd name="connsiteX12" fmla="*/ 502920 w 4983480"/>
              <a:gd name="connsiteY12" fmla="*/ 1943100 h 5911536"/>
              <a:gd name="connsiteX13" fmla="*/ 76200 w 4983480"/>
              <a:gd name="connsiteY13" fmla="*/ 1889760 h 5911536"/>
              <a:gd name="connsiteX14" fmla="*/ 0 w 4983480"/>
              <a:gd name="connsiteY14" fmla="*/ 160020 h 59115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4983480" h="5911536">
                <a:moveTo>
                  <a:pt x="0" y="160020"/>
                </a:moveTo>
                <a:lnTo>
                  <a:pt x="3611880" y="0"/>
                </a:lnTo>
                <a:lnTo>
                  <a:pt x="4983480" y="3587436"/>
                </a:lnTo>
                <a:lnTo>
                  <a:pt x="3063240" y="3756660"/>
                </a:lnTo>
                <a:lnTo>
                  <a:pt x="2316480" y="998220"/>
                </a:lnTo>
                <a:lnTo>
                  <a:pt x="1844040" y="1097280"/>
                </a:lnTo>
                <a:lnTo>
                  <a:pt x="2026920" y="5882640"/>
                </a:lnTo>
                <a:lnTo>
                  <a:pt x="883920" y="5911536"/>
                </a:lnTo>
                <a:lnTo>
                  <a:pt x="129540" y="5341620"/>
                </a:lnTo>
                <a:lnTo>
                  <a:pt x="91440" y="4114800"/>
                </a:lnTo>
                <a:lnTo>
                  <a:pt x="99060" y="4091940"/>
                </a:lnTo>
                <a:lnTo>
                  <a:pt x="556260" y="4053840"/>
                </a:lnTo>
                <a:lnTo>
                  <a:pt x="502920" y="1943100"/>
                </a:lnTo>
                <a:lnTo>
                  <a:pt x="76200" y="1889760"/>
                </a:lnTo>
                <a:lnTo>
                  <a:pt x="0" y="160020"/>
                </a:lnTo>
                <a:close/>
              </a:path>
            </a:pathLst>
          </a:custGeom>
          <a:solidFill>
            <a:schemeClr val="accent1">
              <a:alpha val="3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5" name="Рисунок 2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290" y="506025"/>
            <a:ext cx="785531" cy="7881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8161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Объект 5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457" y="358140"/>
            <a:ext cx="8293563" cy="6239196"/>
          </a:xfrm>
        </p:spPr>
      </p:pic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srgbClr val="000000"/>
                </a:solidFill>
              </a:rPr>
              <a:t> 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Фигура, имеющая форму буквы L 6"/>
          <p:cNvSpPr/>
          <p:nvPr/>
        </p:nvSpPr>
        <p:spPr>
          <a:xfrm>
            <a:off x="3870131" y="497587"/>
            <a:ext cx="647700" cy="579120"/>
          </a:xfrm>
          <a:prstGeom prst="corner">
            <a:avLst/>
          </a:prstGeom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dirty="0" smtClean="0"/>
              <a:t>СЗК</a:t>
            </a:r>
            <a:endParaRPr lang="ru-RU" sz="1000" dirty="0"/>
          </a:p>
        </p:txBody>
      </p:sp>
      <p:cxnSp>
        <p:nvCxnSpPr>
          <p:cNvPr id="9" name="Прямая соединительная линия 8"/>
          <p:cNvCxnSpPr/>
          <p:nvPr/>
        </p:nvCxnSpPr>
        <p:spPr>
          <a:xfrm flipH="1">
            <a:off x="3474720" y="1076707"/>
            <a:ext cx="719262" cy="1087373"/>
          </a:xfrm>
          <a:prstGeom prst="line">
            <a:avLst/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1"/>
          <p:cNvCxnSpPr/>
          <p:nvPr/>
        </p:nvCxnSpPr>
        <p:spPr>
          <a:xfrm>
            <a:off x="3474720" y="2164080"/>
            <a:ext cx="0" cy="2145187"/>
          </a:xfrm>
          <a:prstGeom prst="line">
            <a:avLst/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/>
          <p:cNvCxnSpPr/>
          <p:nvPr/>
        </p:nvCxnSpPr>
        <p:spPr>
          <a:xfrm flipH="1">
            <a:off x="1996440" y="4309267"/>
            <a:ext cx="1478280" cy="422753"/>
          </a:xfrm>
          <a:prstGeom prst="line">
            <a:avLst/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6" name="Прямая соединительная линия 15"/>
          <p:cNvCxnSpPr/>
          <p:nvPr/>
        </p:nvCxnSpPr>
        <p:spPr>
          <a:xfrm>
            <a:off x="1996439" y="4732020"/>
            <a:ext cx="1051561" cy="1211580"/>
          </a:xfrm>
          <a:prstGeom prst="line">
            <a:avLst/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4" name="Прямая соединительная линия 23"/>
          <p:cNvCxnSpPr/>
          <p:nvPr/>
        </p:nvCxnSpPr>
        <p:spPr>
          <a:xfrm flipV="1">
            <a:off x="3048000" y="5859780"/>
            <a:ext cx="2270760" cy="83820"/>
          </a:xfrm>
          <a:prstGeom prst="line">
            <a:avLst/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6" name="Прямая соединительная линия 25"/>
          <p:cNvCxnSpPr/>
          <p:nvPr/>
        </p:nvCxnSpPr>
        <p:spPr>
          <a:xfrm>
            <a:off x="5318760" y="5859780"/>
            <a:ext cx="457200" cy="737556"/>
          </a:xfrm>
          <a:prstGeom prst="line">
            <a:avLst/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9" name="Прямая соединительная линия 28"/>
          <p:cNvCxnSpPr/>
          <p:nvPr/>
        </p:nvCxnSpPr>
        <p:spPr>
          <a:xfrm>
            <a:off x="5775960" y="6597336"/>
            <a:ext cx="1333500" cy="0"/>
          </a:xfrm>
          <a:prstGeom prst="line">
            <a:avLst/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2" name="Прямая соединительная линия 31"/>
          <p:cNvCxnSpPr/>
          <p:nvPr/>
        </p:nvCxnSpPr>
        <p:spPr>
          <a:xfrm flipV="1">
            <a:off x="7109460" y="5768340"/>
            <a:ext cx="53340" cy="828996"/>
          </a:xfrm>
          <a:prstGeom prst="line">
            <a:avLst/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4" name="Прямая соединительная линия 33"/>
          <p:cNvCxnSpPr/>
          <p:nvPr/>
        </p:nvCxnSpPr>
        <p:spPr>
          <a:xfrm flipV="1">
            <a:off x="7162800" y="5593080"/>
            <a:ext cx="1554480" cy="175260"/>
          </a:xfrm>
          <a:prstGeom prst="line">
            <a:avLst/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6" name="Прямая соединительная линия 35"/>
          <p:cNvCxnSpPr/>
          <p:nvPr/>
        </p:nvCxnSpPr>
        <p:spPr>
          <a:xfrm flipV="1">
            <a:off x="8709660" y="4632960"/>
            <a:ext cx="0" cy="960120"/>
          </a:xfrm>
          <a:prstGeom prst="line">
            <a:avLst/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8" name="Прямая соединительная линия 37"/>
          <p:cNvCxnSpPr/>
          <p:nvPr/>
        </p:nvCxnSpPr>
        <p:spPr>
          <a:xfrm flipH="1" flipV="1">
            <a:off x="5928360" y="4632646"/>
            <a:ext cx="2788920" cy="314"/>
          </a:xfrm>
          <a:prstGeom prst="line">
            <a:avLst/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41" name="Прямая соединительная линия 40"/>
          <p:cNvCxnSpPr/>
          <p:nvPr/>
        </p:nvCxnSpPr>
        <p:spPr>
          <a:xfrm flipV="1">
            <a:off x="5928360" y="3619500"/>
            <a:ext cx="0" cy="1013146"/>
          </a:xfrm>
          <a:prstGeom prst="line">
            <a:avLst/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43" name="Прямая соединительная линия 42"/>
          <p:cNvCxnSpPr/>
          <p:nvPr/>
        </p:nvCxnSpPr>
        <p:spPr>
          <a:xfrm flipH="1">
            <a:off x="3627120" y="3619500"/>
            <a:ext cx="2301240" cy="0"/>
          </a:xfrm>
          <a:prstGeom prst="line">
            <a:avLst/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45" name="Прямая соединительная линия 44"/>
          <p:cNvCxnSpPr/>
          <p:nvPr/>
        </p:nvCxnSpPr>
        <p:spPr>
          <a:xfrm flipV="1">
            <a:off x="3627120" y="2164081"/>
            <a:ext cx="0" cy="1455419"/>
          </a:xfrm>
          <a:prstGeom prst="line">
            <a:avLst/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49" name="Прямая соединительная линия 48"/>
          <p:cNvCxnSpPr/>
          <p:nvPr/>
        </p:nvCxnSpPr>
        <p:spPr>
          <a:xfrm flipH="1">
            <a:off x="3627120" y="1076707"/>
            <a:ext cx="566861" cy="1087373"/>
          </a:xfrm>
          <a:prstGeom prst="line">
            <a:avLst/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51" name="Прямоугольник 50"/>
          <p:cNvSpPr/>
          <p:nvPr/>
        </p:nvSpPr>
        <p:spPr>
          <a:xfrm>
            <a:off x="2007205" y="1059182"/>
            <a:ext cx="6710074" cy="5579533"/>
          </a:xfrm>
          <a:custGeom>
            <a:avLst/>
            <a:gdLst>
              <a:gd name="connsiteX0" fmla="*/ 0 w 7627620"/>
              <a:gd name="connsiteY0" fmla="*/ 0 h 5810189"/>
              <a:gd name="connsiteX1" fmla="*/ 7627620 w 7627620"/>
              <a:gd name="connsiteY1" fmla="*/ 0 h 5810189"/>
              <a:gd name="connsiteX2" fmla="*/ 7627620 w 7627620"/>
              <a:gd name="connsiteY2" fmla="*/ 5810189 h 5810189"/>
              <a:gd name="connsiteX3" fmla="*/ 0 w 7627620"/>
              <a:gd name="connsiteY3" fmla="*/ 5810189 h 5810189"/>
              <a:gd name="connsiteX4" fmla="*/ 0 w 7627620"/>
              <a:gd name="connsiteY4" fmla="*/ 0 h 5810189"/>
              <a:gd name="connsiteX0" fmla="*/ 2301240 w 7627620"/>
              <a:gd name="connsiteY0" fmla="*/ 1379220 h 5810189"/>
              <a:gd name="connsiteX1" fmla="*/ 7627620 w 7627620"/>
              <a:gd name="connsiteY1" fmla="*/ 0 h 5810189"/>
              <a:gd name="connsiteX2" fmla="*/ 7627620 w 7627620"/>
              <a:gd name="connsiteY2" fmla="*/ 5810189 h 5810189"/>
              <a:gd name="connsiteX3" fmla="*/ 0 w 7627620"/>
              <a:gd name="connsiteY3" fmla="*/ 5810189 h 5810189"/>
              <a:gd name="connsiteX4" fmla="*/ 2301240 w 7627620"/>
              <a:gd name="connsiteY4" fmla="*/ 1379220 h 5810189"/>
              <a:gd name="connsiteX0" fmla="*/ 2301240 w 7627620"/>
              <a:gd name="connsiteY0" fmla="*/ 1379220 h 5810189"/>
              <a:gd name="connsiteX1" fmla="*/ 7627620 w 7627620"/>
              <a:gd name="connsiteY1" fmla="*/ 0 h 5810189"/>
              <a:gd name="connsiteX2" fmla="*/ 7627620 w 7627620"/>
              <a:gd name="connsiteY2" fmla="*/ 5810189 h 5810189"/>
              <a:gd name="connsiteX3" fmla="*/ 0 w 7627620"/>
              <a:gd name="connsiteY3" fmla="*/ 5810189 h 5810189"/>
              <a:gd name="connsiteX4" fmla="*/ 2301240 w 7627620"/>
              <a:gd name="connsiteY4" fmla="*/ 1379220 h 5810189"/>
              <a:gd name="connsiteX0" fmla="*/ 2301240 w 7627620"/>
              <a:gd name="connsiteY0" fmla="*/ 1379220 h 5810189"/>
              <a:gd name="connsiteX1" fmla="*/ 7627620 w 7627620"/>
              <a:gd name="connsiteY1" fmla="*/ 0 h 5810189"/>
              <a:gd name="connsiteX2" fmla="*/ 7627620 w 7627620"/>
              <a:gd name="connsiteY2" fmla="*/ 5810189 h 5810189"/>
              <a:gd name="connsiteX3" fmla="*/ 0 w 7627620"/>
              <a:gd name="connsiteY3" fmla="*/ 5810189 h 5810189"/>
              <a:gd name="connsiteX4" fmla="*/ 2301240 w 7627620"/>
              <a:gd name="connsiteY4" fmla="*/ 1379220 h 5810189"/>
              <a:gd name="connsiteX0" fmla="*/ 2301240 w 7627620"/>
              <a:gd name="connsiteY0" fmla="*/ 1379220 h 5810189"/>
              <a:gd name="connsiteX1" fmla="*/ 3497580 w 7627620"/>
              <a:gd name="connsiteY1" fmla="*/ 1079753 h 5810189"/>
              <a:gd name="connsiteX2" fmla="*/ 7627620 w 7627620"/>
              <a:gd name="connsiteY2" fmla="*/ 0 h 5810189"/>
              <a:gd name="connsiteX3" fmla="*/ 7627620 w 7627620"/>
              <a:gd name="connsiteY3" fmla="*/ 5810189 h 5810189"/>
              <a:gd name="connsiteX4" fmla="*/ 0 w 7627620"/>
              <a:gd name="connsiteY4" fmla="*/ 5810189 h 5810189"/>
              <a:gd name="connsiteX5" fmla="*/ 2301240 w 7627620"/>
              <a:gd name="connsiteY5" fmla="*/ 1379220 h 5810189"/>
              <a:gd name="connsiteX0" fmla="*/ 2301240 w 7627620"/>
              <a:gd name="connsiteY0" fmla="*/ 1379220 h 5810189"/>
              <a:gd name="connsiteX1" fmla="*/ 3055620 w 7627620"/>
              <a:gd name="connsiteY1" fmla="*/ 272033 h 5810189"/>
              <a:gd name="connsiteX2" fmla="*/ 7627620 w 7627620"/>
              <a:gd name="connsiteY2" fmla="*/ 0 h 5810189"/>
              <a:gd name="connsiteX3" fmla="*/ 7627620 w 7627620"/>
              <a:gd name="connsiteY3" fmla="*/ 5810189 h 5810189"/>
              <a:gd name="connsiteX4" fmla="*/ 0 w 7627620"/>
              <a:gd name="connsiteY4" fmla="*/ 5810189 h 5810189"/>
              <a:gd name="connsiteX5" fmla="*/ 2301240 w 7627620"/>
              <a:gd name="connsiteY5" fmla="*/ 1379220 h 5810189"/>
              <a:gd name="connsiteX0" fmla="*/ 2301240 w 7627620"/>
              <a:gd name="connsiteY0" fmla="*/ 1379220 h 5810189"/>
              <a:gd name="connsiteX1" fmla="*/ 3055620 w 7627620"/>
              <a:gd name="connsiteY1" fmla="*/ 272033 h 5810189"/>
              <a:gd name="connsiteX2" fmla="*/ 7627620 w 7627620"/>
              <a:gd name="connsiteY2" fmla="*/ 0 h 5810189"/>
              <a:gd name="connsiteX3" fmla="*/ 7627620 w 7627620"/>
              <a:gd name="connsiteY3" fmla="*/ 5810189 h 5810189"/>
              <a:gd name="connsiteX4" fmla="*/ 0 w 7627620"/>
              <a:gd name="connsiteY4" fmla="*/ 5810189 h 5810189"/>
              <a:gd name="connsiteX5" fmla="*/ 2301240 w 7627620"/>
              <a:gd name="connsiteY5" fmla="*/ 1379220 h 5810189"/>
              <a:gd name="connsiteX0" fmla="*/ 2301240 w 7627620"/>
              <a:gd name="connsiteY0" fmla="*/ 1379220 h 5810189"/>
              <a:gd name="connsiteX1" fmla="*/ 3055620 w 7627620"/>
              <a:gd name="connsiteY1" fmla="*/ 272033 h 5810189"/>
              <a:gd name="connsiteX2" fmla="*/ 7627620 w 7627620"/>
              <a:gd name="connsiteY2" fmla="*/ 0 h 5810189"/>
              <a:gd name="connsiteX3" fmla="*/ 7627620 w 7627620"/>
              <a:gd name="connsiteY3" fmla="*/ 5810189 h 5810189"/>
              <a:gd name="connsiteX4" fmla="*/ 0 w 7627620"/>
              <a:gd name="connsiteY4" fmla="*/ 5810189 h 5810189"/>
              <a:gd name="connsiteX5" fmla="*/ 2301240 w 7627620"/>
              <a:gd name="connsiteY5" fmla="*/ 1379220 h 5810189"/>
              <a:gd name="connsiteX0" fmla="*/ 2301240 w 7627620"/>
              <a:gd name="connsiteY0" fmla="*/ 1379220 h 5810189"/>
              <a:gd name="connsiteX1" fmla="*/ 3055620 w 7627620"/>
              <a:gd name="connsiteY1" fmla="*/ 272033 h 5810189"/>
              <a:gd name="connsiteX2" fmla="*/ 4274820 w 7627620"/>
              <a:gd name="connsiteY2" fmla="*/ 180593 h 5810189"/>
              <a:gd name="connsiteX3" fmla="*/ 7627620 w 7627620"/>
              <a:gd name="connsiteY3" fmla="*/ 0 h 5810189"/>
              <a:gd name="connsiteX4" fmla="*/ 7627620 w 7627620"/>
              <a:gd name="connsiteY4" fmla="*/ 5810189 h 5810189"/>
              <a:gd name="connsiteX5" fmla="*/ 0 w 7627620"/>
              <a:gd name="connsiteY5" fmla="*/ 5810189 h 5810189"/>
              <a:gd name="connsiteX6" fmla="*/ 2301240 w 7627620"/>
              <a:gd name="connsiteY6" fmla="*/ 1379220 h 5810189"/>
              <a:gd name="connsiteX0" fmla="*/ 2301240 w 7627620"/>
              <a:gd name="connsiteY0" fmla="*/ 1379220 h 5810189"/>
              <a:gd name="connsiteX1" fmla="*/ 3055620 w 7627620"/>
              <a:gd name="connsiteY1" fmla="*/ 272033 h 5810189"/>
              <a:gd name="connsiteX2" fmla="*/ 2453640 w 7627620"/>
              <a:gd name="connsiteY2" fmla="*/ 1437893 h 5810189"/>
              <a:gd name="connsiteX3" fmla="*/ 7627620 w 7627620"/>
              <a:gd name="connsiteY3" fmla="*/ 0 h 5810189"/>
              <a:gd name="connsiteX4" fmla="*/ 7627620 w 7627620"/>
              <a:gd name="connsiteY4" fmla="*/ 5810189 h 5810189"/>
              <a:gd name="connsiteX5" fmla="*/ 0 w 7627620"/>
              <a:gd name="connsiteY5" fmla="*/ 5810189 h 5810189"/>
              <a:gd name="connsiteX6" fmla="*/ 2301240 w 7627620"/>
              <a:gd name="connsiteY6" fmla="*/ 1379220 h 5810189"/>
              <a:gd name="connsiteX0" fmla="*/ 2301240 w 7627620"/>
              <a:gd name="connsiteY0" fmla="*/ 1379220 h 5810189"/>
              <a:gd name="connsiteX1" fmla="*/ 3055620 w 7627620"/>
              <a:gd name="connsiteY1" fmla="*/ 272033 h 5810189"/>
              <a:gd name="connsiteX2" fmla="*/ 2453640 w 7627620"/>
              <a:gd name="connsiteY2" fmla="*/ 1437893 h 5810189"/>
              <a:gd name="connsiteX3" fmla="*/ 7627620 w 7627620"/>
              <a:gd name="connsiteY3" fmla="*/ 0 h 5810189"/>
              <a:gd name="connsiteX4" fmla="*/ 7627620 w 7627620"/>
              <a:gd name="connsiteY4" fmla="*/ 5810189 h 5810189"/>
              <a:gd name="connsiteX5" fmla="*/ 0 w 7627620"/>
              <a:gd name="connsiteY5" fmla="*/ 5810189 h 5810189"/>
              <a:gd name="connsiteX6" fmla="*/ 2301240 w 7627620"/>
              <a:gd name="connsiteY6" fmla="*/ 1379220 h 5810189"/>
              <a:gd name="connsiteX0" fmla="*/ 2301240 w 7627620"/>
              <a:gd name="connsiteY0" fmla="*/ 1379220 h 5810189"/>
              <a:gd name="connsiteX1" fmla="*/ 3055620 w 7627620"/>
              <a:gd name="connsiteY1" fmla="*/ 272033 h 5810189"/>
              <a:gd name="connsiteX2" fmla="*/ 2453640 w 7627620"/>
              <a:gd name="connsiteY2" fmla="*/ 1437893 h 5810189"/>
              <a:gd name="connsiteX3" fmla="*/ 7627620 w 7627620"/>
              <a:gd name="connsiteY3" fmla="*/ 0 h 5810189"/>
              <a:gd name="connsiteX4" fmla="*/ 7627620 w 7627620"/>
              <a:gd name="connsiteY4" fmla="*/ 5810189 h 5810189"/>
              <a:gd name="connsiteX5" fmla="*/ 0 w 7627620"/>
              <a:gd name="connsiteY5" fmla="*/ 5810189 h 5810189"/>
              <a:gd name="connsiteX6" fmla="*/ 2301240 w 7627620"/>
              <a:gd name="connsiteY6" fmla="*/ 1379220 h 5810189"/>
              <a:gd name="connsiteX0" fmla="*/ 2301240 w 7627620"/>
              <a:gd name="connsiteY0" fmla="*/ 1379220 h 5810189"/>
              <a:gd name="connsiteX1" fmla="*/ 3055620 w 7627620"/>
              <a:gd name="connsiteY1" fmla="*/ 272033 h 5810189"/>
              <a:gd name="connsiteX2" fmla="*/ 2453640 w 7627620"/>
              <a:gd name="connsiteY2" fmla="*/ 1437893 h 5810189"/>
              <a:gd name="connsiteX3" fmla="*/ 3695700 w 7627620"/>
              <a:gd name="connsiteY3" fmla="*/ 1079753 h 5810189"/>
              <a:gd name="connsiteX4" fmla="*/ 7627620 w 7627620"/>
              <a:gd name="connsiteY4" fmla="*/ 0 h 5810189"/>
              <a:gd name="connsiteX5" fmla="*/ 7627620 w 7627620"/>
              <a:gd name="connsiteY5" fmla="*/ 5810189 h 5810189"/>
              <a:gd name="connsiteX6" fmla="*/ 0 w 7627620"/>
              <a:gd name="connsiteY6" fmla="*/ 5810189 h 5810189"/>
              <a:gd name="connsiteX7" fmla="*/ 2301240 w 7627620"/>
              <a:gd name="connsiteY7" fmla="*/ 1379220 h 5810189"/>
              <a:gd name="connsiteX0" fmla="*/ 2301240 w 7627620"/>
              <a:gd name="connsiteY0" fmla="*/ 1379220 h 5810189"/>
              <a:gd name="connsiteX1" fmla="*/ 3055620 w 7627620"/>
              <a:gd name="connsiteY1" fmla="*/ 272033 h 5810189"/>
              <a:gd name="connsiteX2" fmla="*/ 2453640 w 7627620"/>
              <a:gd name="connsiteY2" fmla="*/ 1437893 h 5810189"/>
              <a:gd name="connsiteX3" fmla="*/ 2446020 w 7627620"/>
              <a:gd name="connsiteY3" fmla="*/ 2824733 h 5810189"/>
              <a:gd name="connsiteX4" fmla="*/ 7627620 w 7627620"/>
              <a:gd name="connsiteY4" fmla="*/ 0 h 5810189"/>
              <a:gd name="connsiteX5" fmla="*/ 7627620 w 7627620"/>
              <a:gd name="connsiteY5" fmla="*/ 5810189 h 5810189"/>
              <a:gd name="connsiteX6" fmla="*/ 0 w 7627620"/>
              <a:gd name="connsiteY6" fmla="*/ 5810189 h 5810189"/>
              <a:gd name="connsiteX7" fmla="*/ 2301240 w 7627620"/>
              <a:gd name="connsiteY7" fmla="*/ 1379220 h 5810189"/>
              <a:gd name="connsiteX0" fmla="*/ 2301240 w 7627620"/>
              <a:gd name="connsiteY0" fmla="*/ 1379220 h 5810189"/>
              <a:gd name="connsiteX1" fmla="*/ 3055620 w 7627620"/>
              <a:gd name="connsiteY1" fmla="*/ 272033 h 5810189"/>
              <a:gd name="connsiteX2" fmla="*/ 2453640 w 7627620"/>
              <a:gd name="connsiteY2" fmla="*/ 1437893 h 5810189"/>
              <a:gd name="connsiteX3" fmla="*/ 2446020 w 7627620"/>
              <a:gd name="connsiteY3" fmla="*/ 2824733 h 5810189"/>
              <a:gd name="connsiteX4" fmla="*/ 7627620 w 7627620"/>
              <a:gd name="connsiteY4" fmla="*/ 0 h 5810189"/>
              <a:gd name="connsiteX5" fmla="*/ 7627620 w 7627620"/>
              <a:gd name="connsiteY5" fmla="*/ 5810189 h 5810189"/>
              <a:gd name="connsiteX6" fmla="*/ 0 w 7627620"/>
              <a:gd name="connsiteY6" fmla="*/ 5810189 h 5810189"/>
              <a:gd name="connsiteX7" fmla="*/ 2301240 w 7627620"/>
              <a:gd name="connsiteY7" fmla="*/ 1379220 h 5810189"/>
              <a:gd name="connsiteX0" fmla="*/ 2301240 w 7627620"/>
              <a:gd name="connsiteY0" fmla="*/ 1379220 h 5810189"/>
              <a:gd name="connsiteX1" fmla="*/ 3055620 w 7627620"/>
              <a:gd name="connsiteY1" fmla="*/ 272033 h 5810189"/>
              <a:gd name="connsiteX2" fmla="*/ 2453640 w 7627620"/>
              <a:gd name="connsiteY2" fmla="*/ 1437893 h 5810189"/>
              <a:gd name="connsiteX3" fmla="*/ 2446020 w 7627620"/>
              <a:gd name="connsiteY3" fmla="*/ 2824733 h 5810189"/>
              <a:gd name="connsiteX4" fmla="*/ 7627620 w 7627620"/>
              <a:gd name="connsiteY4" fmla="*/ 0 h 5810189"/>
              <a:gd name="connsiteX5" fmla="*/ 7627620 w 7627620"/>
              <a:gd name="connsiteY5" fmla="*/ 5810189 h 5810189"/>
              <a:gd name="connsiteX6" fmla="*/ 0 w 7627620"/>
              <a:gd name="connsiteY6" fmla="*/ 5810189 h 5810189"/>
              <a:gd name="connsiteX7" fmla="*/ 2301240 w 7627620"/>
              <a:gd name="connsiteY7" fmla="*/ 1379220 h 5810189"/>
              <a:gd name="connsiteX0" fmla="*/ 2301240 w 7627620"/>
              <a:gd name="connsiteY0" fmla="*/ 1379220 h 5810189"/>
              <a:gd name="connsiteX1" fmla="*/ 3055620 w 7627620"/>
              <a:gd name="connsiteY1" fmla="*/ 272033 h 5810189"/>
              <a:gd name="connsiteX2" fmla="*/ 2453640 w 7627620"/>
              <a:gd name="connsiteY2" fmla="*/ 1437893 h 5810189"/>
              <a:gd name="connsiteX3" fmla="*/ 2446020 w 7627620"/>
              <a:gd name="connsiteY3" fmla="*/ 2824733 h 5810189"/>
              <a:gd name="connsiteX4" fmla="*/ 5173980 w 7627620"/>
              <a:gd name="connsiteY4" fmla="*/ 1323593 h 5810189"/>
              <a:gd name="connsiteX5" fmla="*/ 7627620 w 7627620"/>
              <a:gd name="connsiteY5" fmla="*/ 0 h 5810189"/>
              <a:gd name="connsiteX6" fmla="*/ 7627620 w 7627620"/>
              <a:gd name="connsiteY6" fmla="*/ 5810189 h 5810189"/>
              <a:gd name="connsiteX7" fmla="*/ 0 w 7627620"/>
              <a:gd name="connsiteY7" fmla="*/ 5810189 h 5810189"/>
              <a:gd name="connsiteX8" fmla="*/ 2301240 w 7627620"/>
              <a:gd name="connsiteY8" fmla="*/ 1379220 h 5810189"/>
              <a:gd name="connsiteX0" fmla="*/ 2301240 w 7627620"/>
              <a:gd name="connsiteY0" fmla="*/ 1379220 h 5810189"/>
              <a:gd name="connsiteX1" fmla="*/ 3055620 w 7627620"/>
              <a:gd name="connsiteY1" fmla="*/ 272033 h 5810189"/>
              <a:gd name="connsiteX2" fmla="*/ 2453640 w 7627620"/>
              <a:gd name="connsiteY2" fmla="*/ 1437893 h 5810189"/>
              <a:gd name="connsiteX3" fmla="*/ 2446020 w 7627620"/>
              <a:gd name="connsiteY3" fmla="*/ 2824733 h 5810189"/>
              <a:gd name="connsiteX4" fmla="*/ 4770120 w 7627620"/>
              <a:gd name="connsiteY4" fmla="*/ 2832353 h 5810189"/>
              <a:gd name="connsiteX5" fmla="*/ 7627620 w 7627620"/>
              <a:gd name="connsiteY5" fmla="*/ 0 h 5810189"/>
              <a:gd name="connsiteX6" fmla="*/ 7627620 w 7627620"/>
              <a:gd name="connsiteY6" fmla="*/ 5810189 h 5810189"/>
              <a:gd name="connsiteX7" fmla="*/ 0 w 7627620"/>
              <a:gd name="connsiteY7" fmla="*/ 5810189 h 5810189"/>
              <a:gd name="connsiteX8" fmla="*/ 2301240 w 7627620"/>
              <a:gd name="connsiteY8" fmla="*/ 1379220 h 5810189"/>
              <a:gd name="connsiteX0" fmla="*/ 2301240 w 7627620"/>
              <a:gd name="connsiteY0" fmla="*/ 1107187 h 5538156"/>
              <a:gd name="connsiteX1" fmla="*/ 3055620 w 7627620"/>
              <a:gd name="connsiteY1" fmla="*/ 0 h 5538156"/>
              <a:gd name="connsiteX2" fmla="*/ 2453640 w 7627620"/>
              <a:gd name="connsiteY2" fmla="*/ 1165860 h 5538156"/>
              <a:gd name="connsiteX3" fmla="*/ 2446020 w 7627620"/>
              <a:gd name="connsiteY3" fmla="*/ 2552700 h 5538156"/>
              <a:gd name="connsiteX4" fmla="*/ 4770120 w 7627620"/>
              <a:gd name="connsiteY4" fmla="*/ 2560320 h 5538156"/>
              <a:gd name="connsiteX5" fmla="*/ 4777740 w 7627620"/>
              <a:gd name="connsiteY5" fmla="*/ 3598927 h 5538156"/>
              <a:gd name="connsiteX6" fmla="*/ 7627620 w 7627620"/>
              <a:gd name="connsiteY6" fmla="*/ 5538156 h 5538156"/>
              <a:gd name="connsiteX7" fmla="*/ 0 w 7627620"/>
              <a:gd name="connsiteY7" fmla="*/ 5538156 h 5538156"/>
              <a:gd name="connsiteX8" fmla="*/ 2301240 w 7627620"/>
              <a:gd name="connsiteY8" fmla="*/ 1107187 h 5538156"/>
              <a:gd name="connsiteX0" fmla="*/ 2301240 w 7627620"/>
              <a:gd name="connsiteY0" fmla="*/ 1107187 h 5538156"/>
              <a:gd name="connsiteX1" fmla="*/ 3055620 w 7627620"/>
              <a:gd name="connsiteY1" fmla="*/ 0 h 5538156"/>
              <a:gd name="connsiteX2" fmla="*/ 2453640 w 7627620"/>
              <a:gd name="connsiteY2" fmla="*/ 1165860 h 5538156"/>
              <a:gd name="connsiteX3" fmla="*/ 2446020 w 7627620"/>
              <a:gd name="connsiteY3" fmla="*/ 2552700 h 5538156"/>
              <a:gd name="connsiteX4" fmla="*/ 4770120 w 7627620"/>
              <a:gd name="connsiteY4" fmla="*/ 2560320 h 5538156"/>
              <a:gd name="connsiteX5" fmla="*/ 4777740 w 7627620"/>
              <a:gd name="connsiteY5" fmla="*/ 3598927 h 5538156"/>
              <a:gd name="connsiteX6" fmla="*/ 7627620 w 7627620"/>
              <a:gd name="connsiteY6" fmla="*/ 5538156 h 5538156"/>
              <a:gd name="connsiteX7" fmla="*/ 0 w 7627620"/>
              <a:gd name="connsiteY7" fmla="*/ 5538156 h 5538156"/>
              <a:gd name="connsiteX8" fmla="*/ 2301240 w 7627620"/>
              <a:gd name="connsiteY8" fmla="*/ 1107187 h 5538156"/>
              <a:gd name="connsiteX0" fmla="*/ 2301240 w 7627620"/>
              <a:gd name="connsiteY0" fmla="*/ 1107187 h 5538156"/>
              <a:gd name="connsiteX1" fmla="*/ 3055620 w 7627620"/>
              <a:gd name="connsiteY1" fmla="*/ 0 h 5538156"/>
              <a:gd name="connsiteX2" fmla="*/ 2453640 w 7627620"/>
              <a:gd name="connsiteY2" fmla="*/ 1165860 h 5538156"/>
              <a:gd name="connsiteX3" fmla="*/ 2446020 w 7627620"/>
              <a:gd name="connsiteY3" fmla="*/ 2552700 h 5538156"/>
              <a:gd name="connsiteX4" fmla="*/ 4770120 w 7627620"/>
              <a:gd name="connsiteY4" fmla="*/ 2560320 h 5538156"/>
              <a:gd name="connsiteX5" fmla="*/ 4777740 w 7627620"/>
              <a:gd name="connsiteY5" fmla="*/ 3598927 h 5538156"/>
              <a:gd name="connsiteX6" fmla="*/ 7627620 w 7627620"/>
              <a:gd name="connsiteY6" fmla="*/ 5538156 h 5538156"/>
              <a:gd name="connsiteX7" fmla="*/ 0 w 7627620"/>
              <a:gd name="connsiteY7" fmla="*/ 5538156 h 5538156"/>
              <a:gd name="connsiteX8" fmla="*/ 2301240 w 7627620"/>
              <a:gd name="connsiteY8" fmla="*/ 1107187 h 5538156"/>
              <a:gd name="connsiteX0" fmla="*/ 2301240 w 7490460"/>
              <a:gd name="connsiteY0" fmla="*/ 1107187 h 5538156"/>
              <a:gd name="connsiteX1" fmla="*/ 3055620 w 7490460"/>
              <a:gd name="connsiteY1" fmla="*/ 0 h 5538156"/>
              <a:gd name="connsiteX2" fmla="*/ 2453640 w 7490460"/>
              <a:gd name="connsiteY2" fmla="*/ 1165860 h 5538156"/>
              <a:gd name="connsiteX3" fmla="*/ 2446020 w 7490460"/>
              <a:gd name="connsiteY3" fmla="*/ 2552700 h 5538156"/>
              <a:gd name="connsiteX4" fmla="*/ 4770120 w 7490460"/>
              <a:gd name="connsiteY4" fmla="*/ 2560320 h 5538156"/>
              <a:gd name="connsiteX5" fmla="*/ 4777740 w 7490460"/>
              <a:gd name="connsiteY5" fmla="*/ 3598927 h 5538156"/>
              <a:gd name="connsiteX6" fmla="*/ 7490460 w 7490460"/>
              <a:gd name="connsiteY6" fmla="*/ 3587436 h 5538156"/>
              <a:gd name="connsiteX7" fmla="*/ 0 w 7490460"/>
              <a:gd name="connsiteY7" fmla="*/ 5538156 h 5538156"/>
              <a:gd name="connsiteX8" fmla="*/ 2301240 w 7490460"/>
              <a:gd name="connsiteY8" fmla="*/ 1107187 h 5538156"/>
              <a:gd name="connsiteX0" fmla="*/ 2301240 w 7491052"/>
              <a:gd name="connsiteY0" fmla="*/ 1107187 h 5538156"/>
              <a:gd name="connsiteX1" fmla="*/ 3055620 w 7491052"/>
              <a:gd name="connsiteY1" fmla="*/ 0 h 5538156"/>
              <a:gd name="connsiteX2" fmla="*/ 2453640 w 7491052"/>
              <a:gd name="connsiteY2" fmla="*/ 1165860 h 5538156"/>
              <a:gd name="connsiteX3" fmla="*/ 2446020 w 7491052"/>
              <a:gd name="connsiteY3" fmla="*/ 2552700 h 5538156"/>
              <a:gd name="connsiteX4" fmla="*/ 4770120 w 7491052"/>
              <a:gd name="connsiteY4" fmla="*/ 2560320 h 5538156"/>
              <a:gd name="connsiteX5" fmla="*/ 4777740 w 7491052"/>
              <a:gd name="connsiteY5" fmla="*/ 3598927 h 5538156"/>
              <a:gd name="connsiteX6" fmla="*/ 7490460 w 7491052"/>
              <a:gd name="connsiteY6" fmla="*/ 3587436 h 5538156"/>
              <a:gd name="connsiteX7" fmla="*/ 0 w 7491052"/>
              <a:gd name="connsiteY7" fmla="*/ 5538156 h 5538156"/>
              <a:gd name="connsiteX8" fmla="*/ 2301240 w 7491052"/>
              <a:gd name="connsiteY8" fmla="*/ 1107187 h 5538156"/>
              <a:gd name="connsiteX0" fmla="*/ 2301240 w 7490460"/>
              <a:gd name="connsiteY0" fmla="*/ 1107187 h 5538156"/>
              <a:gd name="connsiteX1" fmla="*/ 3055620 w 7490460"/>
              <a:gd name="connsiteY1" fmla="*/ 0 h 5538156"/>
              <a:gd name="connsiteX2" fmla="*/ 2453640 w 7490460"/>
              <a:gd name="connsiteY2" fmla="*/ 1165860 h 5538156"/>
              <a:gd name="connsiteX3" fmla="*/ 2446020 w 7490460"/>
              <a:gd name="connsiteY3" fmla="*/ 2552700 h 5538156"/>
              <a:gd name="connsiteX4" fmla="*/ 4770120 w 7490460"/>
              <a:gd name="connsiteY4" fmla="*/ 2560320 h 5538156"/>
              <a:gd name="connsiteX5" fmla="*/ 4777740 w 7490460"/>
              <a:gd name="connsiteY5" fmla="*/ 3598927 h 5538156"/>
              <a:gd name="connsiteX6" fmla="*/ 7490460 w 7490460"/>
              <a:gd name="connsiteY6" fmla="*/ 3587436 h 5538156"/>
              <a:gd name="connsiteX7" fmla="*/ 0 w 7490460"/>
              <a:gd name="connsiteY7" fmla="*/ 5538156 h 5538156"/>
              <a:gd name="connsiteX8" fmla="*/ 2301240 w 7490460"/>
              <a:gd name="connsiteY8" fmla="*/ 1107187 h 5538156"/>
              <a:gd name="connsiteX0" fmla="*/ 2301240 w 7490460"/>
              <a:gd name="connsiteY0" fmla="*/ 1107187 h 5538156"/>
              <a:gd name="connsiteX1" fmla="*/ 3055620 w 7490460"/>
              <a:gd name="connsiteY1" fmla="*/ 0 h 5538156"/>
              <a:gd name="connsiteX2" fmla="*/ 2453640 w 7490460"/>
              <a:gd name="connsiteY2" fmla="*/ 1165860 h 5538156"/>
              <a:gd name="connsiteX3" fmla="*/ 2446020 w 7490460"/>
              <a:gd name="connsiteY3" fmla="*/ 2552700 h 5538156"/>
              <a:gd name="connsiteX4" fmla="*/ 4770120 w 7490460"/>
              <a:gd name="connsiteY4" fmla="*/ 2560320 h 5538156"/>
              <a:gd name="connsiteX5" fmla="*/ 4777740 w 7490460"/>
              <a:gd name="connsiteY5" fmla="*/ 3598927 h 5538156"/>
              <a:gd name="connsiteX6" fmla="*/ 7490460 w 7490460"/>
              <a:gd name="connsiteY6" fmla="*/ 3587436 h 5538156"/>
              <a:gd name="connsiteX7" fmla="*/ 5402580 w 7490460"/>
              <a:gd name="connsiteY7" fmla="*/ 4145279 h 5538156"/>
              <a:gd name="connsiteX8" fmla="*/ 0 w 7490460"/>
              <a:gd name="connsiteY8" fmla="*/ 5538156 h 5538156"/>
              <a:gd name="connsiteX9" fmla="*/ 2301240 w 7490460"/>
              <a:gd name="connsiteY9" fmla="*/ 1107187 h 5538156"/>
              <a:gd name="connsiteX0" fmla="*/ 2301240 w 7543800"/>
              <a:gd name="connsiteY0" fmla="*/ 1107187 h 5538156"/>
              <a:gd name="connsiteX1" fmla="*/ 3055620 w 7543800"/>
              <a:gd name="connsiteY1" fmla="*/ 0 h 5538156"/>
              <a:gd name="connsiteX2" fmla="*/ 2453640 w 7543800"/>
              <a:gd name="connsiteY2" fmla="*/ 1165860 h 5538156"/>
              <a:gd name="connsiteX3" fmla="*/ 2446020 w 7543800"/>
              <a:gd name="connsiteY3" fmla="*/ 2552700 h 5538156"/>
              <a:gd name="connsiteX4" fmla="*/ 4770120 w 7543800"/>
              <a:gd name="connsiteY4" fmla="*/ 2560320 h 5538156"/>
              <a:gd name="connsiteX5" fmla="*/ 4777740 w 7543800"/>
              <a:gd name="connsiteY5" fmla="*/ 3598927 h 5538156"/>
              <a:gd name="connsiteX6" fmla="*/ 7490460 w 7543800"/>
              <a:gd name="connsiteY6" fmla="*/ 3587436 h 5538156"/>
              <a:gd name="connsiteX7" fmla="*/ 7543800 w 7543800"/>
              <a:gd name="connsiteY7" fmla="*/ 4511039 h 5538156"/>
              <a:gd name="connsiteX8" fmla="*/ 0 w 7543800"/>
              <a:gd name="connsiteY8" fmla="*/ 5538156 h 5538156"/>
              <a:gd name="connsiteX9" fmla="*/ 2301240 w 7543800"/>
              <a:gd name="connsiteY9" fmla="*/ 1107187 h 5538156"/>
              <a:gd name="connsiteX0" fmla="*/ 2301240 w 7543800"/>
              <a:gd name="connsiteY0" fmla="*/ 1107187 h 5538156"/>
              <a:gd name="connsiteX1" fmla="*/ 3055620 w 7543800"/>
              <a:gd name="connsiteY1" fmla="*/ 0 h 5538156"/>
              <a:gd name="connsiteX2" fmla="*/ 2453640 w 7543800"/>
              <a:gd name="connsiteY2" fmla="*/ 1165860 h 5538156"/>
              <a:gd name="connsiteX3" fmla="*/ 2446020 w 7543800"/>
              <a:gd name="connsiteY3" fmla="*/ 2552700 h 5538156"/>
              <a:gd name="connsiteX4" fmla="*/ 4770120 w 7543800"/>
              <a:gd name="connsiteY4" fmla="*/ 2560320 h 5538156"/>
              <a:gd name="connsiteX5" fmla="*/ 4777740 w 7543800"/>
              <a:gd name="connsiteY5" fmla="*/ 3598927 h 5538156"/>
              <a:gd name="connsiteX6" fmla="*/ 7490460 w 7543800"/>
              <a:gd name="connsiteY6" fmla="*/ 3587436 h 5538156"/>
              <a:gd name="connsiteX7" fmla="*/ 7543800 w 7543800"/>
              <a:gd name="connsiteY7" fmla="*/ 4511039 h 5538156"/>
              <a:gd name="connsiteX8" fmla="*/ 0 w 7543800"/>
              <a:gd name="connsiteY8" fmla="*/ 5538156 h 5538156"/>
              <a:gd name="connsiteX9" fmla="*/ 2301240 w 7543800"/>
              <a:gd name="connsiteY9" fmla="*/ 1107187 h 5538156"/>
              <a:gd name="connsiteX0" fmla="*/ 2301240 w 7543800"/>
              <a:gd name="connsiteY0" fmla="*/ 1107187 h 5538156"/>
              <a:gd name="connsiteX1" fmla="*/ 3055620 w 7543800"/>
              <a:gd name="connsiteY1" fmla="*/ 0 h 5538156"/>
              <a:gd name="connsiteX2" fmla="*/ 2453640 w 7543800"/>
              <a:gd name="connsiteY2" fmla="*/ 1165860 h 5538156"/>
              <a:gd name="connsiteX3" fmla="*/ 2446020 w 7543800"/>
              <a:gd name="connsiteY3" fmla="*/ 2552700 h 5538156"/>
              <a:gd name="connsiteX4" fmla="*/ 4770120 w 7543800"/>
              <a:gd name="connsiteY4" fmla="*/ 2560320 h 5538156"/>
              <a:gd name="connsiteX5" fmla="*/ 4777740 w 7543800"/>
              <a:gd name="connsiteY5" fmla="*/ 3598927 h 5538156"/>
              <a:gd name="connsiteX6" fmla="*/ 7513320 w 7543800"/>
              <a:gd name="connsiteY6" fmla="*/ 3595056 h 5538156"/>
              <a:gd name="connsiteX7" fmla="*/ 7543800 w 7543800"/>
              <a:gd name="connsiteY7" fmla="*/ 4511039 h 5538156"/>
              <a:gd name="connsiteX8" fmla="*/ 0 w 7543800"/>
              <a:gd name="connsiteY8" fmla="*/ 5538156 h 5538156"/>
              <a:gd name="connsiteX9" fmla="*/ 2301240 w 7543800"/>
              <a:gd name="connsiteY9" fmla="*/ 1107187 h 5538156"/>
              <a:gd name="connsiteX0" fmla="*/ 2301240 w 7543800"/>
              <a:gd name="connsiteY0" fmla="*/ 1107187 h 5730795"/>
              <a:gd name="connsiteX1" fmla="*/ 3055620 w 7543800"/>
              <a:gd name="connsiteY1" fmla="*/ 0 h 5730795"/>
              <a:gd name="connsiteX2" fmla="*/ 2453640 w 7543800"/>
              <a:gd name="connsiteY2" fmla="*/ 1165860 h 5730795"/>
              <a:gd name="connsiteX3" fmla="*/ 2446020 w 7543800"/>
              <a:gd name="connsiteY3" fmla="*/ 2552700 h 5730795"/>
              <a:gd name="connsiteX4" fmla="*/ 4770120 w 7543800"/>
              <a:gd name="connsiteY4" fmla="*/ 2560320 h 5730795"/>
              <a:gd name="connsiteX5" fmla="*/ 4777740 w 7543800"/>
              <a:gd name="connsiteY5" fmla="*/ 3598927 h 5730795"/>
              <a:gd name="connsiteX6" fmla="*/ 7513320 w 7543800"/>
              <a:gd name="connsiteY6" fmla="*/ 3595056 h 5730795"/>
              <a:gd name="connsiteX7" fmla="*/ 7543800 w 7543800"/>
              <a:gd name="connsiteY7" fmla="*/ 4511039 h 5730795"/>
              <a:gd name="connsiteX8" fmla="*/ 4572000 w 7543800"/>
              <a:gd name="connsiteY8" fmla="*/ 4892039 h 5730795"/>
              <a:gd name="connsiteX9" fmla="*/ 0 w 7543800"/>
              <a:gd name="connsiteY9" fmla="*/ 5538156 h 5730795"/>
              <a:gd name="connsiteX10" fmla="*/ 2301240 w 7543800"/>
              <a:gd name="connsiteY10" fmla="*/ 1107187 h 5730795"/>
              <a:gd name="connsiteX0" fmla="*/ 2301240 w 7543800"/>
              <a:gd name="connsiteY0" fmla="*/ 1107187 h 5853784"/>
              <a:gd name="connsiteX1" fmla="*/ 3055620 w 7543800"/>
              <a:gd name="connsiteY1" fmla="*/ 0 h 5853784"/>
              <a:gd name="connsiteX2" fmla="*/ 2453640 w 7543800"/>
              <a:gd name="connsiteY2" fmla="*/ 1165860 h 5853784"/>
              <a:gd name="connsiteX3" fmla="*/ 2446020 w 7543800"/>
              <a:gd name="connsiteY3" fmla="*/ 2552700 h 5853784"/>
              <a:gd name="connsiteX4" fmla="*/ 4770120 w 7543800"/>
              <a:gd name="connsiteY4" fmla="*/ 2560320 h 5853784"/>
              <a:gd name="connsiteX5" fmla="*/ 4777740 w 7543800"/>
              <a:gd name="connsiteY5" fmla="*/ 3598927 h 5853784"/>
              <a:gd name="connsiteX6" fmla="*/ 7513320 w 7543800"/>
              <a:gd name="connsiteY6" fmla="*/ 3595056 h 5853784"/>
              <a:gd name="connsiteX7" fmla="*/ 7543800 w 7543800"/>
              <a:gd name="connsiteY7" fmla="*/ 4511039 h 5853784"/>
              <a:gd name="connsiteX8" fmla="*/ 5928360 w 7543800"/>
              <a:gd name="connsiteY8" fmla="*/ 5516879 h 5853784"/>
              <a:gd name="connsiteX9" fmla="*/ 0 w 7543800"/>
              <a:gd name="connsiteY9" fmla="*/ 5538156 h 5853784"/>
              <a:gd name="connsiteX10" fmla="*/ 2301240 w 7543800"/>
              <a:gd name="connsiteY10" fmla="*/ 1107187 h 5853784"/>
              <a:gd name="connsiteX0" fmla="*/ 2301240 w 7543800"/>
              <a:gd name="connsiteY0" fmla="*/ 1107187 h 5853784"/>
              <a:gd name="connsiteX1" fmla="*/ 3055620 w 7543800"/>
              <a:gd name="connsiteY1" fmla="*/ 0 h 5853784"/>
              <a:gd name="connsiteX2" fmla="*/ 2453640 w 7543800"/>
              <a:gd name="connsiteY2" fmla="*/ 1165860 h 5853784"/>
              <a:gd name="connsiteX3" fmla="*/ 2446020 w 7543800"/>
              <a:gd name="connsiteY3" fmla="*/ 2552700 h 5853784"/>
              <a:gd name="connsiteX4" fmla="*/ 4770120 w 7543800"/>
              <a:gd name="connsiteY4" fmla="*/ 2560320 h 5853784"/>
              <a:gd name="connsiteX5" fmla="*/ 4777740 w 7543800"/>
              <a:gd name="connsiteY5" fmla="*/ 3598927 h 5853784"/>
              <a:gd name="connsiteX6" fmla="*/ 7513320 w 7543800"/>
              <a:gd name="connsiteY6" fmla="*/ 3595056 h 5853784"/>
              <a:gd name="connsiteX7" fmla="*/ 7543800 w 7543800"/>
              <a:gd name="connsiteY7" fmla="*/ 4511039 h 5853784"/>
              <a:gd name="connsiteX8" fmla="*/ 5928360 w 7543800"/>
              <a:gd name="connsiteY8" fmla="*/ 5516879 h 5853784"/>
              <a:gd name="connsiteX9" fmla="*/ 0 w 7543800"/>
              <a:gd name="connsiteY9" fmla="*/ 5538156 h 5853784"/>
              <a:gd name="connsiteX10" fmla="*/ 2301240 w 7543800"/>
              <a:gd name="connsiteY10" fmla="*/ 1107187 h 5853784"/>
              <a:gd name="connsiteX0" fmla="*/ 2301240 w 7543800"/>
              <a:gd name="connsiteY0" fmla="*/ 1107187 h 5853784"/>
              <a:gd name="connsiteX1" fmla="*/ 3055620 w 7543800"/>
              <a:gd name="connsiteY1" fmla="*/ 0 h 5853784"/>
              <a:gd name="connsiteX2" fmla="*/ 2453640 w 7543800"/>
              <a:gd name="connsiteY2" fmla="*/ 1165860 h 5853784"/>
              <a:gd name="connsiteX3" fmla="*/ 2446020 w 7543800"/>
              <a:gd name="connsiteY3" fmla="*/ 2552700 h 5853784"/>
              <a:gd name="connsiteX4" fmla="*/ 4770120 w 7543800"/>
              <a:gd name="connsiteY4" fmla="*/ 2560320 h 5853784"/>
              <a:gd name="connsiteX5" fmla="*/ 4777740 w 7543800"/>
              <a:gd name="connsiteY5" fmla="*/ 3598927 h 5853784"/>
              <a:gd name="connsiteX6" fmla="*/ 7513320 w 7543800"/>
              <a:gd name="connsiteY6" fmla="*/ 3595056 h 5853784"/>
              <a:gd name="connsiteX7" fmla="*/ 7543800 w 7543800"/>
              <a:gd name="connsiteY7" fmla="*/ 4511039 h 5853784"/>
              <a:gd name="connsiteX8" fmla="*/ 6652260 w 7543800"/>
              <a:gd name="connsiteY8" fmla="*/ 5052058 h 5853784"/>
              <a:gd name="connsiteX9" fmla="*/ 5928360 w 7543800"/>
              <a:gd name="connsiteY9" fmla="*/ 5516879 h 5853784"/>
              <a:gd name="connsiteX10" fmla="*/ 0 w 7543800"/>
              <a:gd name="connsiteY10" fmla="*/ 5538156 h 5853784"/>
              <a:gd name="connsiteX11" fmla="*/ 2301240 w 7543800"/>
              <a:gd name="connsiteY11" fmla="*/ 1107187 h 5853784"/>
              <a:gd name="connsiteX0" fmla="*/ 2301240 w 7543800"/>
              <a:gd name="connsiteY0" fmla="*/ 1107187 h 5853784"/>
              <a:gd name="connsiteX1" fmla="*/ 3055620 w 7543800"/>
              <a:gd name="connsiteY1" fmla="*/ 0 h 5853784"/>
              <a:gd name="connsiteX2" fmla="*/ 2453640 w 7543800"/>
              <a:gd name="connsiteY2" fmla="*/ 1165860 h 5853784"/>
              <a:gd name="connsiteX3" fmla="*/ 2446020 w 7543800"/>
              <a:gd name="connsiteY3" fmla="*/ 2552700 h 5853784"/>
              <a:gd name="connsiteX4" fmla="*/ 4770120 w 7543800"/>
              <a:gd name="connsiteY4" fmla="*/ 2560320 h 5853784"/>
              <a:gd name="connsiteX5" fmla="*/ 4777740 w 7543800"/>
              <a:gd name="connsiteY5" fmla="*/ 3598927 h 5853784"/>
              <a:gd name="connsiteX6" fmla="*/ 7513320 w 7543800"/>
              <a:gd name="connsiteY6" fmla="*/ 3595056 h 5853784"/>
              <a:gd name="connsiteX7" fmla="*/ 7543800 w 7543800"/>
              <a:gd name="connsiteY7" fmla="*/ 4511039 h 5853784"/>
              <a:gd name="connsiteX8" fmla="*/ 5989320 w 7543800"/>
              <a:gd name="connsiteY8" fmla="*/ 4732018 h 5853784"/>
              <a:gd name="connsiteX9" fmla="*/ 5928360 w 7543800"/>
              <a:gd name="connsiteY9" fmla="*/ 5516879 h 5853784"/>
              <a:gd name="connsiteX10" fmla="*/ 0 w 7543800"/>
              <a:gd name="connsiteY10" fmla="*/ 5538156 h 5853784"/>
              <a:gd name="connsiteX11" fmla="*/ 2301240 w 7543800"/>
              <a:gd name="connsiteY11" fmla="*/ 1107187 h 5853784"/>
              <a:gd name="connsiteX0" fmla="*/ 2301240 w 7543800"/>
              <a:gd name="connsiteY0" fmla="*/ 1107187 h 5917738"/>
              <a:gd name="connsiteX1" fmla="*/ 3055620 w 7543800"/>
              <a:gd name="connsiteY1" fmla="*/ 0 h 5917738"/>
              <a:gd name="connsiteX2" fmla="*/ 2453640 w 7543800"/>
              <a:gd name="connsiteY2" fmla="*/ 1165860 h 5917738"/>
              <a:gd name="connsiteX3" fmla="*/ 2446020 w 7543800"/>
              <a:gd name="connsiteY3" fmla="*/ 2552700 h 5917738"/>
              <a:gd name="connsiteX4" fmla="*/ 4770120 w 7543800"/>
              <a:gd name="connsiteY4" fmla="*/ 2560320 h 5917738"/>
              <a:gd name="connsiteX5" fmla="*/ 4777740 w 7543800"/>
              <a:gd name="connsiteY5" fmla="*/ 3598927 h 5917738"/>
              <a:gd name="connsiteX6" fmla="*/ 7513320 w 7543800"/>
              <a:gd name="connsiteY6" fmla="*/ 3595056 h 5917738"/>
              <a:gd name="connsiteX7" fmla="*/ 7543800 w 7543800"/>
              <a:gd name="connsiteY7" fmla="*/ 4511039 h 5917738"/>
              <a:gd name="connsiteX8" fmla="*/ 5989320 w 7543800"/>
              <a:gd name="connsiteY8" fmla="*/ 4732018 h 5917738"/>
              <a:gd name="connsiteX9" fmla="*/ 5928360 w 7543800"/>
              <a:gd name="connsiteY9" fmla="*/ 5516879 h 5917738"/>
              <a:gd name="connsiteX10" fmla="*/ 4541520 w 7543800"/>
              <a:gd name="connsiteY10" fmla="*/ 5676898 h 5917738"/>
              <a:gd name="connsiteX11" fmla="*/ 0 w 7543800"/>
              <a:gd name="connsiteY11" fmla="*/ 5538156 h 5917738"/>
              <a:gd name="connsiteX12" fmla="*/ 2301240 w 7543800"/>
              <a:gd name="connsiteY12" fmla="*/ 1107187 h 5917738"/>
              <a:gd name="connsiteX0" fmla="*/ 2301240 w 7543800"/>
              <a:gd name="connsiteY0" fmla="*/ 1107187 h 5877854"/>
              <a:gd name="connsiteX1" fmla="*/ 3055620 w 7543800"/>
              <a:gd name="connsiteY1" fmla="*/ 0 h 5877854"/>
              <a:gd name="connsiteX2" fmla="*/ 2453640 w 7543800"/>
              <a:gd name="connsiteY2" fmla="*/ 1165860 h 5877854"/>
              <a:gd name="connsiteX3" fmla="*/ 2446020 w 7543800"/>
              <a:gd name="connsiteY3" fmla="*/ 2552700 h 5877854"/>
              <a:gd name="connsiteX4" fmla="*/ 4770120 w 7543800"/>
              <a:gd name="connsiteY4" fmla="*/ 2560320 h 5877854"/>
              <a:gd name="connsiteX5" fmla="*/ 4777740 w 7543800"/>
              <a:gd name="connsiteY5" fmla="*/ 3598927 h 5877854"/>
              <a:gd name="connsiteX6" fmla="*/ 7513320 w 7543800"/>
              <a:gd name="connsiteY6" fmla="*/ 3595056 h 5877854"/>
              <a:gd name="connsiteX7" fmla="*/ 7543800 w 7543800"/>
              <a:gd name="connsiteY7" fmla="*/ 4511039 h 5877854"/>
              <a:gd name="connsiteX8" fmla="*/ 5989320 w 7543800"/>
              <a:gd name="connsiteY8" fmla="*/ 4732018 h 5877854"/>
              <a:gd name="connsiteX9" fmla="*/ 5928360 w 7543800"/>
              <a:gd name="connsiteY9" fmla="*/ 5516879 h 5877854"/>
              <a:gd name="connsiteX10" fmla="*/ 4655820 w 7543800"/>
              <a:gd name="connsiteY10" fmla="*/ 5539738 h 5877854"/>
              <a:gd name="connsiteX11" fmla="*/ 0 w 7543800"/>
              <a:gd name="connsiteY11" fmla="*/ 5538156 h 5877854"/>
              <a:gd name="connsiteX12" fmla="*/ 2301240 w 7543800"/>
              <a:gd name="connsiteY12" fmla="*/ 1107187 h 5877854"/>
              <a:gd name="connsiteX0" fmla="*/ 2301240 w 7543800"/>
              <a:gd name="connsiteY0" fmla="*/ 1107187 h 5875034"/>
              <a:gd name="connsiteX1" fmla="*/ 3055620 w 7543800"/>
              <a:gd name="connsiteY1" fmla="*/ 0 h 5875034"/>
              <a:gd name="connsiteX2" fmla="*/ 2453640 w 7543800"/>
              <a:gd name="connsiteY2" fmla="*/ 1165860 h 5875034"/>
              <a:gd name="connsiteX3" fmla="*/ 2446020 w 7543800"/>
              <a:gd name="connsiteY3" fmla="*/ 2552700 h 5875034"/>
              <a:gd name="connsiteX4" fmla="*/ 4770120 w 7543800"/>
              <a:gd name="connsiteY4" fmla="*/ 2560320 h 5875034"/>
              <a:gd name="connsiteX5" fmla="*/ 4777740 w 7543800"/>
              <a:gd name="connsiteY5" fmla="*/ 3598927 h 5875034"/>
              <a:gd name="connsiteX6" fmla="*/ 7513320 w 7543800"/>
              <a:gd name="connsiteY6" fmla="*/ 3595056 h 5875034"/>
              <a:gd name="connsiteX7" fmla="*/ 7543800 w 7543800"/>
              <a:gd name="connsiteY7" fmla="*/ 4511039 h 5875034"/>
              <a:gd name="connsiteX8" fmla="*/ 5989320 w 7543800"/>
              <a:gd name="connsiteY8" fmla="*/ 4732018 h 5875034"/>
              <a:gd name="connsiteX9" fmla="*/ 5928360 w 7543800"/>
              <a:gd name="connsiteY9" fmla="*/ 5516879 h 5875034"/>
              <a:gd name="connsiteX10" fmla="*/ 5684520 w 7543800"/>
              <a:gd name="connsiteY10" fmla="*/ 5554978 h 5875034"/>
              <a:gd name="connsiteX11" fmla="*/ 4655820 w 7543800"/>
              <a:gd name="connsiteY11" fmla="*/ 5539738 h 5875034"/>
              <a:gd name="connsiteX12" fmla="*/ 0 w 7543800"/>
              <a:gd name="connsiteY12" fmla="*/ 5538156 h 5875034"/>
              <a:gd name="connsiteX13" fmla="*/ 2301240 w 7543800"/>
              <a:gd name="connsiteY13" fmla="*/ 1107187 h 5875034"/>
              <a:gd name="connsiteX0" fmla="*/ 2301240 w 7543800"/>
              <a:gd name="connsiteY0" fmla="*/ 1107187 h 5875034"/>
              <a:gd name="connsiteX1" fmla="*/ 3055620 w 7543800"/>
              <a:gd name="connsiteY1" fmla="*/ 0 h 5875034"/>
              <a:gd name="connsiteX2" fmla="*/ 2453640 w 7543800"/>
              <a:gd name="connsiteY2" fmla="*/ 1165860 h 5875034"/>
              <a:gd name="connsiteX3" fmla="*/ 2446020 w 7543800"/>
              <a:gd name="connsiteY3" fmla="*/ 2552700 h 5875034"/>
              <a:gd name="connsiteX4" fmla="*/ 4770120 w 7543800"/>
              <a:gd name="connsiteY4" fmla="*/ 2560320 h 5875034"/>
              <a:gd name="connsiteX5" fmla="*/ 4777740 w 7543800"/>
              <a:gd name="connsiteY5" fmla="*/ 3598927 h 5875034"/>
              <a:gd name="connsiteX6" fmla="*/ 7513320 w 7543800"/>
              <a:gd name="connsiteY6" fmla="*/ 3595056 h 5875034"/>
              <a:gd name="connsiteX7" fmla="*/ 7543800 w 7543800"/>
              <a:gd name="connsiteY7" fmla="*/ 4511039 h 5875034"/>
              <a:gd name="connsiteX8" fmla="*/ 5989320 w 7543800"/>
              <a:gd name="connsiteY8" fmla="*/ 4732018 h 5875034"/>
              <a:gd name="connsiteX9" fmla="*/ 5928360 w 7543800"/>
              <a:gd name="connsiteY9" fmla="*/ 5516879 h 5875034"/>
              <a:gd name="connsiteX10" fmla="*/ 5684520 w 7543800"/>
              <a:gd name="connsiteY10" fmla="*/ 5554978 h 5875034"/>
              <a:gd name="connsiteX11" fmla="*/ 4655820 w 7543800"/>
              <a:gd name="connsiteY11" fmla="*/ 5539738 h 5875034"/>
              <a:gd name="connsiteX12" fmla="*/ 0 w 7543800"/>
              <a:gd name="connsiteY12" fmla="*/ 5538156 h 5875034"/>
              <a:gd name="connsiteX13" fmla="*/ 2301240 w 7543800"/>
              <a:gd name="connsiteY13" fmla="*/ 1107187 h 5875034"/>
              <a:gd name="connsiteX0" fmla="*/ 2301240 w 7543800"/>
              <a:gd name="connsiteY0" fmla="*/ 1107187 h 5925892"/>
              <a:gd name="connsiteX1" fmla="*/ 3055620 w 7543800"/>
              <a:gd name="connsiteY1" fmla="*/ 0 h 5925892"/>
              <a:gd name="connsiteX2" fmla="*/ 2453640 w 7543800"/>
              <a:gd name="connsiteY2" fmla="*/ 1165860 h 5925892"/>
              <a:gd name="connsiteX3" fmla="*/ 2446020 w 7543800"/>
              <a:gd name="connsiteY3" fmla="*/ 2552700 h 5925892"/>
              <a:gd name="connsiteX4" fmla="*/ 4770120 w 7543800"/>
              <a:gd name="connsiteY4" fmla="*/ 2560320 h 5925892"/>
              <a:gd name="connsiteX5" fmla="*/ 4777740 w 7543800"/>
              <a:gd name="connsiteY5" fmla="*/ 3598927 h 5925892"/>
              <a:gd name="connsiteX6" fmla="*/ 7513320 w 7543800"/>
              <a:gd name="connsiteY6" fmla="*/ 3595056 h 5925892"/>
              <a:gd name="connsiteX7" fmla="*/ 7543800 w 7543800"/>
              <a:gd name="connsiteY7" fmla="*/ 4511039 h 5925892"/>
              <a:gd name="connsiteX8" fmla="*/ 5989320 w 7543800"/>
              <a:gd name="connsiteY8" fmla="*/ 4732018 h 5925892"/>
              <a:gd name="connsiteX9" fmla="*/ 5928360 w 7543800"/>
              <a:gd name="connsiteY9" fmla="*/ 5516879 h 5925892"/>
              <a:gd name="connsiteX10" fmla="*/ 5684520 w 7543800"/>
              <a:gd name="connsiteY10" fmla="*/ 5554978 h 5925892"/>
              <a:gd name="connsiteX11" fmla="*/ 4655820 w 7543800"/>
              <a:gd name="connsiteY11" fmla="*/ 5539738 h 5925892"/>
              <a:gd name="connsiteX12" fmla="*/ 3032760 w 7543800"/>
              <a:gd name="connsiteY12" fmla="*/ 5699758 h 5925892"/>
              <a:gd name="connsiteX13" fmla="*/ 0 w 7543800"/>
              <a:gd name="connsiteY13" fmla="*/ 5538156 h 5925892"/>
              <a:gd name="connsiteX14" fmla="*/ 2301240 w 7543800"/>
              <a:gd name="connsiteY14" fmla="*/ 1107187 h 5925892"/>
              <a:gd name="connsiteX0" fmla="*/ 2301240 w 7543800"/>
              <a:gd name="connsiteY0" fmla="*/ 1107187 h 5749063"/>
              <a:gd name="connsiteX1" fmla="*/ 3055620 w 7543800"/>
              <a:gd name="connsiteY1" fmla="*/ 0 h 5749063"/>
              <a:gd name="connsiteX2" fmla="*/ 2453640 w 7543800"/>
              <a:gd name="connsiteY2" fmla="*/ 1165860 h 5749063"/>
              <a:gd name="connsiteX3" fmla="*/ 2446020 w 7543800"/>
              <a:gd name="connsiteY3" fmla="*/ 2552700 h 5749063"/>
              <a:gd name="connsiteX4" fmla="*/ 4770120 w 7543800"/>
              <a:gd name="connsiteY4" fmla="*/ 2560320 h 5749063"/>
              <a:gd name="connsiteX5" fmla="*/ 4777740 w 7543800"/>
              <a:gd name="connsiteY5" fmla="*/ 3598927 h 5749063"/>
              <a:gd name="connsiteX6" fmla="*/ 7513320 w 7543800"/>
              <a:gd name="connsiteY6" fmla="*/ 3595056 h 5749063"/>
              <a:gd name="connsiteX7" fmla="*/ 7543800 w 7543800"/>
              <a:gd name="connsiteY7" fmla="*/ 4511039 h 5749063"/>
              <a:gd name="connsiteX8" fmla="*/ 5989320 w 7543800"/>
              <a:gd name="connsiteY8" fmla="*/ 4732018 h 5749063"/>
              <a:gd name="connsiteX9" fmla="*/ 5928360 w 7543800"/>
              <a:gd name="connsiteY9" fmla="*/ 5516879 h 5749063"/>
              <a:gd name="connsiteX10" fmla="*/ 5684520 w 7543800"/>
              <a:gd name="connsiteY10" fmla="*/ 5554978 h 5749063"/>
              <a:gd name="connsiteX11" fmla="*/ 4655820 w 7543800"/>
              <a:gd name="connsiteY11" fmla="*/ 5539738 h 5749063"/>
              <a:gd name="connsiteX12" fmla="*/ 3779520 w 7543800"/>
              <a:gd name="connsiteY12" fmla="*/ 4739638 h 5749063"/>
              <a:gd name="connsiteX13" fmla="*/ 0 w 7543800"/>
              <a:gd name="connsiteY13" fmla="*/ 5538156 h 5749063"/>
              <a:gd name="connsiteX14" fmla="*/ 2301240 w 7543800"/>
              <a:gd name="connsiteY14" fmla="*/ 1107187 h 5749063"/>
              <a:gd name="connsiteX0" fmla="*/ 2301240 w 7543800"/>
              <a:gd name="connsiteY0" fmla="*/ 1107187 h 5749063"/>
              <a:gd name="connsiteX1" fmla="*/ 3055620 w 7543800"/>
              <a:gd name="connsiteY1" fmla="*/ 0 h 5749063"/>
              <a:gd name="connsiteX2" fmla="*/ 2453640 w 7543800"/>
              <a:gd name="connsiteY2" fmla="*/ 1165860 h 5749063"/>
              <a:gd name="connsiteX3" fmla="*/ 2446020 w 7543800"/>
              <a:gd name="connsiteY3" fmla="*/ 2552700 h 5749063"/>
              <a:gd name="connsiteX4" fmla="*/ 4770120 w 7543800"/>
              <a:gd name="connsiteY4" fmla="*/ 2560320 h 5749063"/>
              <a:gd name="connsiteX5" fmla="*/ 4777740 w 7543800"/>
              <a:gd name="connsiteY5" fmla="*/ 3598927 h 5749063"/>
              <a:gd name="connsiteX6" fmla="*/ 7513320 w 7543800"/>
              <a:gd name="connsiteY6" fmla="*/ 3595056 h 5749063"/>
              <a:gd name="connsiteX7" fmla="*/ 7543800 w 7543800"/>
              <a:gd name="connsiteY7" fmla="*/ 4511039 h 5749063"/>
              <a:gd name="connsiteX8" fmla="*/ 5989320 w 7543800"/>
              <a:gd name="connsiteY8" fmla="*/ 4732018 h 5749063"/>
              <a:gd name="connsiteX9" fmla="*/ 5928360 w 7543800"/>
              <a:gd name="connsiteY9" fmla="*/ 5516879 h 5749063"/>
              <a:gd name="connsiteX10" fmla="*/ 5684520 w 7543800"/>
              <a:gd name="connsiteY10" fmla="*/ 5554978 h 5749063"/>
              <a:gd name="connsiteX11" fmla="*/ 4655820 w 7543800"/>
              <a:gd name="connsiteY11" fmla="*/ 5539738 h 5749063"/>
              <a:gd name="connsiteX12" fmla="*/ 3779520 w 7543800"/>
              <a:gd name="connsiteY12" fmla="*/ 4739638 h 5749063"/>
              <a:gd name="connsiteX13" fmla="*/ 0 w 7543800"/>
              <a:gd name="connsiteY13" fmla="*/ 5538156 h 5749063"/>
              <a:gd name="connsiteX14" fmla="*/ 2301240 w 7543800"/>
              <a:gd name="connsiteY14" fmla="*/ 1107187 h 5749063"/>
              <a:gd name="connsiteX0" fmla="*/ 2301240 w 7543800"/>
              <a:gd name="connsiteY0" fmla="*/ 1107187 h 5754576"/>
              <a:gd name="connsiteX1" fmla="*/ 3055620 w 7543800"/>
              <a:gd name="connsiteY1" fmla="*/ 0 h 5754576"/>
              <a:gd name="connsiteX2" fmla="*/ 2453640 w 7543800"/>
              <a:gd name="connsiteY2" fmla="*/ 1165860 h 5754576"/>
              <a:gd name="connsiteX3" fmla="*/ 2446020 w 7543800"/>
              <a:gd name="connsiteY3" fmla="*/ 2552700 h 5754576"/>
              <a:gd name="connsiteX4" fmla="*/ 4770120 w 7543800"/>
              <a:gd name="connsiteY4" fmla="*/ 2560320 h 5754576"/>
              <a:gd name="connsiteX5" fmla="*/ 4777740 w 7543800"/>
              <a:gd name="connsiteY5" fmla="*/ 3598927 h 5754576"/>
              <a:gd name="connsiteX6" fmla="*/ 7513320 w 7543800"/>
              <a:gd name="connsiteY6" fmla="*/ 3595056 h 5754576"/>
              <a:gd name="connsiteX7" fmla="*/ 7543800 w 7543800"/>
              <a:gd name="connsiteY7" fmla="*/ 4511039 h 5754576"/>
              <a:gd name="connsiteX8" fmla="*/ 5989320 w 7543800"/>
              <a:gd name="connsiteY8" fmla="*/ 4732018 h 5754576"/>
              <a:gd name="connsiteX9" fmla="*/ 5928360 w 7543800"/>
              <a:gd name="connsiteY9" fmla="*/ 5516879 h 5754576"/>
              <a:gd name="connsiteX10" fmla="*/ 5684520 w 7543800"/>
              <a:gd name="connsiteY10" fmla="*/ 5554978 h 5754576"/>
              <a:gd name="connsiteX11" fmla="*/ 4655820 w 7543800"/>
              <a:gd name="connsiteY11" fmla="*/ 5539738 h 5754576"/>
              <a:gd name="connsiteX12" fmla="*/ 4137660 w 7543800"/>
              <a:gd name="connsiteY12" fmla="*/ 4792978 h 5754576"/>
              <a:gd name="connsiteX13" fmla="*/ 0 w 7543800"/>
              <a:gd name="connsiteY13" fmla="*/ 5538156 h 5754576"/>
              <a:gd name="connsiteX14" fmla="*/ 2301240 w 7543800"/>
              <a:gd name="connsiteY14" fmla="*/ 1107187 h 5754576"/>
              <a:gd name="connsiteX0" fmla="*/ 2301240 w 7543800"/>
              <a:gd name="connsiteY0" fmla="*/ 1107187 h 5754576"/>
              <a:gd name="connsiteX1" fmla="*/ 3055620 w 7543800"/>
              <a:gd name="connsiteY1" fmla="*/ 0 h 5754576"/>
              <a:gd name="connsiteX2" fmla="*/ 2453640 w 7543800"/>
              <a:gd name="connsiteY2" fmla="*/ 1165860 h 5754576"/>
              <a:gd name="connsiteX3" fmla="*/ 2446020 w 7543800"/>
              <a:gd name="connsiteY3" fmla="*/ 2552700 h 5754576"/>
              <a:gd name="connsiteX4" fmla="*/ 4770120 w 7543800"/>
              <a:gd name="connsiteY4" fmla="*/ 2560320 h 5754576"/>
              <a:gd name="connsiteX5" fmla="*/ 4777740 w 7543800"/>
              <a:gd name="connsiteY5" fmla="*/ 3598927 h 5754576"/>
              <a:gd name="connsiteX6" fmla="*/ 7513320 w 7543800"/>
              <a:gd name="connsiteY6" fmla="*/ 3595056 h 5754576"/>
              <a:gd name="connsiteX7" fmla="*/ 7543800 w 7543800"/>
              <a:gd name="connsiteY7" fmla="*/ 4511039 h 5754576"/>
              <a:gd name="connsiteX8" fmla="*/ 5989320 w 7543800"/>
              <a:gd name="connsiteY8" fmla="*/ 4732018 h 5754576"/>
              <a:gd name="connsiteX9" fmla="*/ 5928360 w 7543800"/>
              <a:gd name="connsiteY9" fmla="*/ 5516879 h 5754576"/>
              <a:gd name="connsiteX10" fmla="*/ 5684520 w 7543800"/>
              <a:gd name="connsiteY10" fmla="*/ 5554978 h 5754576"/>
              <a:gd name="connsiteX11" fmla="*/ 4632960 w 7543800"/>
              <a:gd name="connsiteY11" fmla="*/ 5547358 h 5754576"/>
              <a:gd name="connsiteX12" fmla="*/ 4137660 w 7543800"/>
              <a:gd name="connsiteY12" fmla="*/ 4792978 h 5754576"/>
              <a:gd name="connsiteX13" fmla="*/ 0 w 7543800"/>
              <a:gd name="connsiteY13" fmla="*/ 5538156 h 5754576"/>
              <a:gd name="connsiteX14" fmla="*/ 2301240 w 7543800"/>
              <a:gd name="connsiteY14" fmla="*/ 1107187 h 5754576"/>
              <a:gd name="connsiteX0" fmla="*/ 2302044 w 7544604"/>
              <a:gd name="connsiteY0" fmla="*/ 1107187 h 5844338"/>
              <a:gd name="connsiteX1" fmla="*/ 3056424 w 7544604"/>
              <a:gd name="connsiteY1" fmla="*/ 0 h 5844338"/>
              <a:gd name="connsiteX2" fmla="*/ 2454444 w 7544604"/>
              <a:gd name="connsiteY2" fmla="*/ 1165860 h 5844338"/>
              <a:gd name="connsiteX3" fmla="*/ 2446824 w 7544604"/>
              <a:gd name="connsiteY3" fmla="*/ 2552700 h 5844338"/>
              <a:gd name="connsiteX4" fmla="*/ 4770924 w 7544604"/>
              <a:gd name="connsiteY4" fmla="*/ 2560320 h 5844338"/>
              <a:gd name="connsiteX5" fmla="*/ 4778544 w 7544604"/>
              <a:gd name="connsiteY5" fmla="*/ 3598927 h 5844338"/>
              <a:gd name="connsiteX6" fmla="*/ 7514124 w 7544604"/>
              <a:gd name="connsiteY6" fmla="*/ 3595056 h 5844338"/>
              <a:gd name="connsiteX7" fmla="*/ 7544604 w 7544604"/>
              <a:gd name="connsiteY7" fmla="*/ 4511039 h 5844338"/>
              <a:gd name="connsiteX8" fmla="*/ 5990124 w 7544604"/>
              <a:gd name="connsiteY8" fmla="*/ 4732018 h 5844338"/>
              <a:gd name="connsiteX9" fmla="*/ 5929164 w 7544604"/>
              <a:gd name="connsiteY9" fmla="*/ 5516879 h 5844338"/>
              <a:gd name="connsiteX10" fmla="*/ 5685324 w 7544604"/>
              <a:gd name="connsiteY10" fmla="*/ 5554978 h 5844338"/>
              <a:gd name="connsiteX11" fmla="*/ 4633764 w 7544604"/>
              <a:gd name="connsiteY11" fmla="*/ 5547358 h 5844338"/>
              <a:gd name="connsiteX12" fmla="*/ 4138464 w 7544604"/>
              <a:gd name="connsiteY12" fmla="*/ 4792978 h 5844338"/>
              <a:gd name="connsiteX13" fmla="*/ 2065824 w 7544604"/>
              <a:gd name="connsiteY13" fmla="*/ 5387338 h 5844338"/>
              <a:gd name="connsiteX14" fmla="*/ 804 w 7544604"/>
              <a:gd name="connsiteY14" fmla="*/ 5538156 h 5844338"/>
              <a:gd name="connsiteX15" fmla="*/ 2302044 w 7544604"/>
              <a:gd name="connsiteY15" fmla="*/ 1107187 h 5844338"/>
              <a:gd name="connsiteX0" fmla="*/ 2302155 w 7544715"/>
              <a:gd name="connsiteY0" fmla="*/ 1107187 h 5758620"/>
              <a:gd name="connsiteX1" fmla="*/ 3056535 w 7544715"/>
              <a:gd name="connsiteY1" fmla="*/ 0 h 5758620"/>
              <a:gd name="connsiteX2" fmla="*/ 2454555 w 7544715"/>
              <a:gd name="connsiteY2" fmla="*/ 1165860 h 5758620"/>
              <a:gd name="connsiteX3" fmla="*/ 2446935 w 7544715"/>
              <a:gd name="connsiteY3" fmla="*/ 2552700 h 5758620"/>
              <a:gd name="connsiteX4" fmla="*/ 4771035 w 7544715"/>
              <a:gd name="connsiteY4" fmla="*/ 2560320 h 5758620"/>
              <a:gd name="connsiteX5" fmla="*/ 4778655 w 7544715"/>
              <a:gd name="connsiteY5" fmla="*/ 3598927 h 5758620"/>
              <a:gd name="connsiteX6" fmla="*/ 7514235 w 7544715"/>
              <a:gd name="connsiteY6" fmla="*/ 3595056 h 5758620"/>
              <a:gd name="connsiteX7" fmla="*/ 7544715 w 7544715"/>
              <a:gd name="connsiteY7" fmla="*/ 4511039 h 5758620"/>
              <a:gd name="connsiteX8" fmla="*/ 5990235 w 7544715"/>
              <a:gd name="connsiteY8" fmla="*/ 4732018 h 5758620"/>
              <a:gd name="connsiteX9" fmla="*/ 5929275 w 7544715"/>
              <a:gd name="connsiteY9" fmla="*/ 5516879 h 5758620"/>
              <a:gd name="connsiteX10" fmla="*/ 5685435 w 7544715"/>
              <a:gd name="connsiteY10" fmla="*/ 5554978 h 5758620"/>
              <a:gd name="connsiteX11" fmla="*/ 4633875 w 7544715"/>
              <a:gd name="connsiteY11" fmla="*/ 5547358 h 5758620"/>
              <a:gd name="connsiteX12" fmla="*/ 4138575 w 7544715"/>
              <a:gd name="connsiteY12" fmla="*/ 4792978 h 5758620"/>
              <a:gd name="connsiteX13" fmla="*/ 1890675 w 7544715"/>
              <a:gd name="connsiteY13" fmla="*/ 4892038 h 5758620"/>
              <a:gd name="connsiteX14" fmla="*/ 915 w 7544715"/>
              <a:gd name="connsiteY14" fmla="*/ 5538156 h 5758620"/>
              <a:gd name="connsiteX15" fmla="*/ 2302155 w 7544715"/>
              <a:gd name="connsiteY15" fmla="*/ 1107187 h 5758620"/>
              <a:gd name="connsiteX0" fmla="*/ 2302155 w 7544715"/>
              <a:gd name="connsiteY0" fmla="*/ 1107187 h 5758620"/>
              <a:gd name="connsiteX1" fmla="*/ 3056535 w 7544715"/>
              <a:gd name="connsiteY1" fmla="*/ 0 h 5758620"/>
              <a:gd name="connsiteX2" fmla="*/ 2454555 w 7544715"/>
              <a:gd name="connsiteY2" fmla="*/ 1165860 h 5758620"/>
              <a:gd name="connsiteX3" fmla="*/ 2446935 w 7544715"/>
              <a:gd name="connsiteY3" fmla="*/ 2552700 h 5758620"/>
              <a:gd name="connsiteX4" fmla="*/ 4771035 w 7544715"/>
              <a:gd name="connsiteY4" fmla="*/ 2560320 h 5758620"/>
              <a:gd name="connsiteX5" fmla="*/ 4778655 w 7544715"/>
              <a:gd name="connsiteY5" fmla="*/ 3598927 h 5758620"/>
              <a:gd name="connsiteX6" fmla="*/ 7514235 w 7544715"/>
              <a:gd name="connsiteY6" fmla="*/ 3595056 h 5758620"/>
              <a:gd name="connsiteX7" fmla="*/ 7544715 w 7544715"/>
              <a:gd name="connsiteY7" fmla="*/ 4511039 h 5758620"/>
              <a:gd name="connsiteX8" fmla="*/ 5990235 w 7544715"/>
              <a:gd name="connsiteY8" fmla="*/ 4732018 h 5758620"/>
              <a:gd name="connsiteX9" fmla="*/ 5929275 w 7544715"/>
              <a:gd name="connsiteY9" fmla="*/ 5516879 h 5758620"/>
              <a:gd name="connsiteX10" fmla="*/ 5685435 w 7544715"/>
              <a:gd name="connsiteY10" fmla="*/ 5554978 h 5758620"/>
              <a:gd name="connsiteX11" fmla="*/ 4633875 w 7544715"/>
              <a:gd name="connsiteY11" fmla="*/ 5547358 h 5758620"/>
              <a:gd name="connsiteX12" fmla="*/ 4138575 w 7544715"/>
              <a:gd name="connsiteY12" fmla="*/ 4792978 h 5758620"/>
              <a:gd name="connsiteX13" fmla="*/ 1890675 w 7544715"/>
              <a:gd name="connsiteY13" fmla="*/ 4892038 h 5758620"/>
              <a:gd name="connsiteX14" fmla="*/ 915 w 7544715"/>
              <a:gd name="connsiteY14" fmla="*/ 5538156 h 5758620"/>
              <a:gd name="connsiteX15" fmla="*/ 2302155 w 7544715"/>
              <a:gd name="connsiteY15" fmla="*/ 1107187 h 5758620"/>
              <a:gd name="connsiteX0" fmla="*/ 2302155 w 7544715"/>
              <a:gd name="connsiteY0" fmla="*/ 1107187 h 5758620"/>
              <a:gd name="connsiteX1" fmla="*/ 3056535 w 7544715"/>
              <a:gd name="connsiteY1" fmla="*/ 0 h 5758620"/>
              <a:gd name="connsiteX2" fmla="*/ 2454555 w 7544715"/>
              <a:gd name="connsiteY2" fmla="*/ 1165860 h 5758620"/>
              <a:gd name="connsiteX3" fmla="*/ 2446935 w 7544715"/>
              <a:gd name="connsiteY3" fmla="*/ 2552700 h 5758620"/>
              <a:gd name="connsiteX4" fmla="*/ 4771035 w 7544715"/>
              <a:gd name="connsiteY4" fmla="*/ 2560320 h 5758620"/>
              <a:gd name="connsiteX5" fmla="*/ 4778655 w 7544715"/>
              <a:gd name="connsiteY5" fmla="*/ 3598927 h 5758620"/>
              <a:gd name="connsiteX6" fmla="*/ 7514235 w 7544715"/>
              <a:gd name="connsiteY6" fmla="*/ 3595056 h 5758620"/>
              <a:gd name="connsiteX7" fmla="*/ 7544715 w 7544715"/>
              <a:gd name="connsiteY7" fmla="*/ 4511039 h 5758620"/>
              <a:gd name="connsiteX8" fmla="*/ 5990235 w 7544715"/>
              <a:gd name="connsiteY8" fmla="*/ 4732018 h 5758620"/>
              <a:gd name="connsiteX9" fmla="*/ 5929275 w 7544715"/>
              <a:gd name="connsiteY9" fmla="*/ 5516879 h 5758620"/>
              <a:gd name="connsiteX10" fmla="*/ 5685435 w 7544715"/>
              <a:gd name="connsiteY10" fmla="*/ 5554978 h 5758620"/>
              <a:gd name="connsiteX11" fmla="*/ 4633875 w 7544715"/>
              <a:gd name="connsiteY11" fmla="*/ 5547358 h 5758620"/>
              <a:gd name="connsiteX12" fmla="*/ 4138575 w 7544715"/>
              <a:gd name="connsiteY12" fmla="*/ 4792978 h 5758620"/>
              <a:gd name="connsiteX13" fmla="*/ 1890675 w 7544715"/>
              <a:gd name="connsiteY13" fmla="*/ 4892038 h 5758620"/>
              <a:gd name="connsiteX14" fmla="*/ 915 w 7544715"/>
              <a:gd name="connsiteY14" fmla="*/ 5538156 h 5758620"/>
              <a:gd name="connsiteX15" fmla="*/ 2302155 w 7544715"/>
              <a:gd name="connsiteY15" fmla="*/ 1107187 h 5758620"/>
              <a:gd name="connsiteX0" fmla="*/ 2302266 w 7544826"/>
              <a:gd name="connsiteY0" fmla="*/ 1107187 h 5762512"/>
              <a:gd name="connsiteX1" fmla="*/ 3056646 w 7544826"/>
              <a:gd name="connsiteY1" fmla="*/ 0 h 5762512"/>
              <a:gd name="connsiteX2" fmla="*/ 2454666 w 7544826"/>
              <a:gd name="connsiteY2" fmla="*/ 1165860 h 5762512"/>
              <a:gd name="connsiteX3" fmla="*/ 2447046 w 7544826"/>
              <a:gd name="connsiteY3" fmla="*/ 2552700 h 5762512"/>
              <a:gd name="connsiteX4" fmla="*/ 4771146 w 7544826"/>
              <a:gd name="connsiteY4" fmla="*/ 2560320 h 5762512"/>
              <a:gd name="connsiteX5" fmla="*/ 4778766 w 7544826"/>
              <a:gd name="connsiteY5" fmla="*/ 3598927 h 5762512"/>
              <a:gd name="connsiteX6" fmla="*/ 7514346 w 7544826"/>
              <a:gd name="connsiteY6" fmla="*/ 3595056 h 5762512"/>
              <a:gd name="connsiteX7" fmla="*/ 7544826 w 7544826"/>
              <a:gd name="connsiteY7" fmla="*/ 4511039 h 5762512"/>
              <a:gd name="connsiteX8" fmla="*/ 5990346 w 7544826"/>
              <a:gd name="connsiteY8" fmla="*/ 4732018 h 5762512"/>
              <a:gd name="connsiteX9" fmla="*/ 5929386 w 7544826"/>
              <a:gd name="connsiteY9" fmla="*/ 5516879 h 5762512"/>
              <a:gd name="connsiteX10" fmla="*/ 5685546 w 7544826"/>
              <a:gd name="connsiteY10" fmla="*/ 5554978 h 5762512"/>
              <a:gd name="connsiteX11" fmla="*/ 4633986 w 7544826"/>
              <a:gd name="connsiteY11" fmla="*/ 5547358 h 5762512"/>
              <a:gd name="connsiteX12" fmla="*/ 4138686 w 7544826"/>
              <a:gd name="connsiteY12" fmla="*/ 4792978 h 5762512"/>
              <a:gd name="connsiteX13" fmla="*/ 1753626 w 7544826"/>
              <a:gd name="connsiteY13" fmla="*/ 4922518 h 5762512"/>
              <a:gd name="connsiteX14" fmla="*/ 1026 w 7544826"/>
              <a:gd name="connsiteY14" fmla="*/ 5538156 h 5762512"/>
              <a:gd name="connsiteX15" fmla="*/ 2302266 w 7544826"/>
              <a:gd name="connsiteY15" fmla="*/ 1107187 h 5762512"/>
              <a:gd name="connsiteX0" fmla="*/ 2302162 w 7544722"/>
              <a:gd name="connsiteY0" fmla="*/ 1107187 h 5758620"/>
              <a:gd name="connsiteX1" fmla="*/ 3056542 w 7544722"/>
              <a:gd name="connsiteY1" fmla="*/ 0 h 5758620"/>
              <a:gd name="connsiteX2" fmla="*/ 2454562 w 7544722"/>
              <a:gd name="connsiteY2" fmla="*/ 1165860 h 5758620"/>
              <a:gd name="connsiteX3" fmla="*/ 2446942 w 7544722"/>
              <a:gd name="connsiteY3" fmla="*/ 2552700 h 5758620"/>
              <a:gd name="connsiteX4" fmla="*/ 4771042 w 7544722"/>
              <a:gd name="connsiteY4" fmla="*/ 2560320 h 5758620"/>
              <a:gd name="connsiteX5" fmla="*/ 4778662 w 7544722"/>
              <a:gd name="connsiteY5" fmla="*/ 3598927 h 5758620"/>
              <a:gd name="connsiteX6" fmla="*/ 7514242 w 7544722"/>
              <a:gd name="connsiteY6" fmla="*/ 3595056 h 5758620"/>
              <a:gd name="connsiteX7" fmla="*/ 7544722 w 7544722"/>
              <a:gd name="connsiteY7" fmla="*/ 4511039 h 5758620"/>
              <a:gd name="connsiteX8" fmla="*/ 5990242 w 7544722"/>
              <a:gd name="connsiteY8" fmla="*/ 4732018 h 5758620"/>
              <a:gd name="connsiteX9" fmla="*/ 5929282 w 7544722"/>
              <a:gd name="connsiteY9" fmla="*/ 5516879 h 5758620"/>
              <a:gd name="connsiteX10" fmla="*/ 5685442 w 7544722"/>
              <a:gd name="connsiteY10" fmla="*/ 5554978 h 5758620"/>
              <a:gd name="connsiteX11" fmla="*/ 4633882 w 7544722"/>
              <a:gd name="connsiteY11" fmla="*/ 5547358 h 5758620"/>
              <a:gd name="connsiteX12" fmla="*/ 4138582 w 7544722"/>
              <a:gd name="connsiteY12" fmla="*/ 4792978 h 5758620"/>
              <a:gd name="connsiteX13" fmla="*/ 1883062 w 7544722"/>
              <a:gd name="connsiteY13" fmla="*/ 4892038 h 5758620"/>
              <a:gd name="connsiteX14" fmla="*/ 922 w 7544722"/>
              <a:gd name="connsiteY14" fmla="*/ 5538156 h 5758620"/>
              <a:gd name="connsiteX15" fmla="*/ 2302162 w 7544722"/>
              <a:gd name="connsiteY15" fmla="*/ 1107187 h 5758620"/>
              <a:gd name="connsiteX0" fmla="*/ 2324878 w 7567438"/>
              <a:gd name="connsiteY0" fmla="*/ 1107187 h 5796055"/>
              <a:gd name="connsiteX1" fmla="*/ 3079258 w 7567438"/>
              <a:gd name="connsiteY1" fmla="*/ 0 h 5796055"/>
              <a:gd name="connsiteX2" fmla="*/ 2477278 w 7567438"/>
              <a:gd name="connsiteY2" fmla="*/ 1165860 h 5796055"/>
              <a:gd name="connsiteX3" fmla="*/ 2469658 w 7567438"/>
              <a:gd name="connsiteY3" fmla="*/ 2552700 h 5796055"/>
              <a:gd name="connsiteX4" fmla="*/ 4793758 w 7567438"/>
              <a:gd name="connsiteY4" fmla="*/ 2560320 h 5796055"/>
              <a:gd name="connsiteX5" fmla="*/ 4801378 w 7567438"/>
              <a:gd name="connsiteY5" fmla="*/ 3598927 h 5796055"/>
              <a:gd name="connsiteX6" fmla="*/ 7536958 w 7567438"/>
              <a:gd name="connsiteY6" fmla="*/ 3595056 h 5796055"/>
              <a:gd name="connsiteX7" fmla="*/ 7567438 w 7567438"/>
              <a:gd name="connsiteY7" fmla="*/ 4511039 h 5796055"/>
              <a:gd name="connsiteX8" fmla="*/ 6012958 w 7567438"/>
              <a:gd name="connsiteY8" fmla="*/ 4732018 h 5796055"/>
              <a:gd name="connsiteX9" fmla="*/ 5951998 w 7567438"/>
              <a:gd name="connsiteY9" fmla="*/ 5516879 h 5796055"/>
              <a:gd name="connsiteX10" fmla="*/ 5708158 w 7567438"/>
              <a:gd name="connsiteY10" fmla="*/ 5554978 h 5796055"/>
              <a:gd name="connsiteX11" fmla="*/ 4656598 w 7567438"/>
              <a:gd name="connsiteY11" fmla="*/ 5547358 h 5796055"/>
              <a:gd name="connsiteX12" fmla="*/ 4161298 w 7567438"/>
              <a:gd name="connsiteY12" fmla="*/ 4792978 h 5796055"/>
              <a:gd name="connsiteX13" fmla="*/ 1905778 w 7567438"/>
              <a:gd name="connsiteY13" fmla="*/ 4892038 h 5796055"/>
              <a:gd name="connsiteX14" fmla="*/ 1174259 w 7567438"/>
              <a:gd name="connsiteY14" fmla="*/ 5227318 h 5796055"/>
              <a:gd name="connsiteX15" fmla="*/ 23638 w 7567438"/>
              <a:gd name="connsiteY15" fmla="*/ 5538156 h 5796055"/>
              <a:gd name="connsiteX16" fmla="*/ 2324878 w 7567438"/>
              <a:gd name="connsiteY16" fmla="*/ 1107187 h 5796055"/>
              <a:gd name="connsiteX0" fmla="*/ 2324878 w 7567438"/>
              <a:gd name="connsiteY0" fmla="*/ 1107187 h 5796055"/>
              <a:gd name="connsiteX1" fmla="*/ 3079258 w 7567438"/>
              <a:gd name="connsiteY1" fmla="*/ 0 h 5796055"/>
              <a:gd name="connsiteX2" fmla="*/ 2477278 w 7567438"/>
              <a:gd name="connsiteY2" fmla="*/ 1165860 h 5796055"/>
              <a:gd name="connsiteX3" fmla="*/ 2469658 w 7567438"/>
              <a:gd name="connsiteY3" fmla="*/ 2552700 h 5796055"/>
              <a:gd name="connsiteX4" fmla="*/ 4793758 w 7567438"/>
              <a:gd name="connsiteY4" fmla="*/ 2560320 h 5796055"/>
              <a:gd name="connsiteX5" fmla="*/ 4801378 w 7567438"/>
              <a:gd name="connsiteY5" fmla="*/ 3598927 h 5796055"/>
              <a:gd name="connsiteX6" fmla="*/ 7536958 w 7567438"/>
              <a:gd name="connsiteY6" fmla="*/ 3595056 h 5796055"/>
              <a:gd name="connsiteX7" fmla="*/ 7567438 w 7567438"/>
              <a:gd name="connsiteY7" fmla="*/ 4511039 h 5796055"/>
              <a:gd name="connsiteX8" fmla="*/ 6012958 w 7567438"/>
              <a:gd name="connsiteY8" fmla="*/ 4732018 h 5796055"/>
              <a:gd name="connsiteX9" fmla="*/ 5951998 w 7567438"/>
              <a:gd name="connsiteY9" fmla="*/ 5516879 h 5796055"/>
              <a:gd name="connsiteX10" fmla="*/ 5708158 w 7567438"/>
              <a:gd name="connsiteY10" fmla="*/ 5554978 h 5796055"/>
              <a:gd name="connsiteX11" fmla="*/ 4656598 w 7567438"/>
              <a:gd name="connsiteY11" fmla="*/ 5547358 h 5796055"/>
              <a:gd name="connsiteX12" fmla="*/ 4161298 w 7567438"/>
              <a:gd name="connsiteY12" fmla="*/ 4792978 h 5796055"/>
              <a:gd name="connsiteX13" fmla="*/ 1905778 w 7567438"/>
              <a:gd name="connsiteY13" fmla="*/ 4892038 h 5796055"/>
              <a:gd name="connsiteX14" fmla="*/ 1174259 w 7567438"/>
              <a:gd name="connsiteY14" fmla="*/ 5227318 h 5796055"/>
              <a:gd name="connsiteX15" fmla="*/ 23638 w 7567438"/>
              <a:gd name="connsiteY15" fmla="*/ 5538156 h 5796055"/>
              <a:gd name="connsiteX16" fmla="*/ 2324878 w 7567438"/>
              <a:gd name="connsiteY16" fmla="*/ 1107187 h 5796055"/>
              <a:gd name="connsiteX0" fmla="*/ 2336095 w 7578655"/>
              <a:gd name="connsiteY0" fmla="*/ 1107187 h 5661215"/>
              <a:gd name="connsiteX1" fmla="*/ 3090475 w 7578655"/>
              <a:gd name="connsiteY1" fmla="*/ 0 h 5661215"/>
              <a:gd name="connsiteX2" fmla="*/ 2488495 w 7578655"/>
              <a:gd name="connsiteY2" fmla="*/ 1165860 h 5661215"/>
              <a:gd name="connsiteX3" fmla="*/ 2480875 w 7578655"/>
              <a:gd name="connsiteY3" fmla="*/ 2552700 h 5661215"/>
              <a:gd name="connsiteX4" fmla="*/ 4804975 w 7578655"/>
              <a:gd name="connsiteY4" fmla="*/ 2560320 h 5661215"/>
              <a:gd name="connsiteX5" fmla="*/ 4812595 w 7578655"/>
              <a:gd name="connsiteY5" fmla="*/ 3598927 h 5661215"/>
              <a:gd name="connsiteX6" fmla="*/ 7548175 w 7578655"/>
              <a:gd name="connsiteY6" fmla="*/ 3595056 h 5661215"/>
              <a:gd name="connsiteX7" fmla="*/ 7578655 w 7578655"/>
              <a:gd name="connsiteY7" fmla="*/ 4511039 h 5661215"/>
              <a:gd name="connsiteX8" fmla="*/ 6024175 w 7578655"/>
              <a:gd name="connsiteY8" fmla="*/ 4732018 h 5661215"/>
              <a:gd name="connsiteX9" fmla="*/ 5963215 w 7578655"/>
              <a:gd name="connsiteY9" fmla="*/ 5516879 h 5661215"/>
              <a:gd name="connsiteX10" fmla="*/ 5719375 w 7578655"/>
              <a:gd name="connsiteY10" fmla="*/ 5554978 h 5661215"/>
              <a:gd name="connsiteX11" fmla="*/ 4667815 w 7578655"/>
              <a:gd name="connsiteY11" fmla="*/ 5547358 h 5661215"/>
              <a:gd name="connsiteX12" fmla="*/ 4172515 w 7578655"/>
              <a:gd name="connsiteY12" fmla="*/ 4792978 h 5661215"/>
              <a:gd name="connsiteX13" fmla="*/ 1916995 w 7578655"/>
              <a:gd name="connsiteY13" fmla="*/ 4892038 h 5661215"/>
              <a:gd name="connsiteX14" fmla="*/ 804476 w 7578655"/>
              <a:gd name="connsiteY14" fmla="*/ 3710938 h 5661215"/>
              <a:gd name="connsiteX15" fmla="*/ 34855 w 7578655"/>
              <a:gd name="connsiteY15" fmla="*/ 5538156 h 5661215"/>
              <a:gd name="connsiteX16" fmla="*/ 2336095 w 7578655"/>
              <a:gd name="connsiteY16" fmla="*/ 1107187 h 5661215"/>
              <a:gd name="connsiteX0" fmla="*/ 2336095 w 7578655"/>
              <a:gd name="connsiteY0" fmla="*/ 1107187 h 5661215"/>
              <a:gd name="connsiteX1" fmla="*/ 3090475 w 7578655"/>
              <a:gd name="connsiteY1" fmla="*/ 0 h 5661215"/>
              <a:gd name="connsiteX2" fmla="*/ 2488495 w 7578655"/>
              <a:gd name="connsiteY2" fmla="*/ 1165860 h 5661215"/>
              <a:gd name="connsiteX3" fmla="*/ 2480875 w 7578655"/>
              <a:gd name="connsiteY3" fmla="*/ 2552700 h 5661215"/>
              <a:gd name="connsiteX4" fmla="*/ 4804975 w 7578655"/>
              <a:gd name="connsiteY4" fmla="*/ 2560320 h 5661215"/>
              <a:gd name="connsiteX5" fmla="*/ 4812595 w 7578655"/>
              <a:gd name="connsiteY5" fmla="*/ 3598927 h 5661215"/>
              <a:gd name="connsiteX6" fmla="*/ 7548175 w 7578655"/>
              <a:gd name="connsiteY6" fmla="*/ 3595056 h 5661215"/>
              <a:gd name="connsiteX7" fmla="*/ 7578655 w 7578655"/>
              <a:gd name="connsiteY7" fmla="*/ 4511039 h 5661215"/>
              <a:gd name="connsiteX8" fmla="*/ 6024175 w 7578655"/>
              <a:gd name="connsiteY8" fmla="*/ 4732018 h 5661215"/>
              <a:gd name="connsiteX9" fmla="*/ 5963215 w 7578655"/>
              <a:gd name="connsiteY9" fmla="*/ 5516879 h 5661215"/>
              <a:gd name="connsiteX10" fmla="*/ 5719375 w 7578655"/>
              <a:gd name="connsiteY10" fmla="*/ 5554978 h 5661215"/>
              <a:gd name="connsiteX11" fmla="*/ 4667815 w 7578655"/>
              <a:gd name="connsiteY11" fmla="*/ 5547358 h 5661215"/>
              <a:gd name="connsiteX12" fmla="*/ 4172515 w 7578655"/>
              <a:gd name="connsiteY12" fmla="*/ 4792978 h 5661215"/>
              <a:gd name="connsiteX13" fmla="*/ 1916995 w 7578655"/>
              <a:gd name="connsiteY13" fmla="*/ 4892038 h 5661215"/>
              <a:gd name="connsiteX14" fmla="*/ 804476 w 7578655"/>
              <a:gd name="connsiteY14" fmla="*/ 3710938 h 5661215"/>
              <a:gd name="connsiteX15" fmla="*/ 34855 w 7578655"/>
              <a:gd name="connsiteY15" fmla="*/ 5538156 h 5661215"/>
              <a:gd name="connsiteX16" fmla="*/ 2336095 w 7578655"/>
              <a:gd name="connsiteY16" fmla="*/ 1107187 h 5661215"/>
              <a:gd name="connsiteX0" fmla="*/ 2333368 w 7575928"/>
              <a:gd name="connsiteY0" fmla="*/ 1107187 h 5658981"/>
              <a:gd name="connsiteX1" fmla="*/ 3087748 w 7575928"/>
              <a:gd name="connsiteY1" fmla="*/ 0 h 5658981"/>
              <a:gd name="connsiteX2" fmla="*/ 2485768 w 7575928"/>
              <a:gd name="connsiteY2" fmla="*/ 1165860 h 5658981"/>
              <a:gd name="connsiteX3" fmla="*/ 2478148 w 7575928"/>
              <a:gd name="connsiteY3" fmla="*/ 2552700 h 5658981"/>
              <a:gd name="connsiteX4" fmla="*/ 4802248 w 7575928"/>
              <a:gd name="connsiteY4" fmla="*/ 2560320 h 5658981"/>
              <a:gd name="connsiteX5" fmla="*/ 4809868 w 7575928"/>
              <a:gd name="connsiteY5" fmla="*/ 3598927 h 5658981"/>
              <a:gd name="connsiteX6" fmla="*/ 7545448 w 7575928"/>
              <a:gd name="connsiteY6" fmla="*/ 3595056 h 5658981"/>
              <a:gd name="connsiteX7" fmla="*/ 7575928 w 7575928"/>
              <a:gd name="connsiteY7" fmla="*/ 4511039 h 5658981"/>
              <a:gd name="connsiteX8" fmla="*/ 6021448 w 7575928"/>
              <a:gd name="connsiteY8" fmla="*/ 4732018 h 5658981"/>
              <a:gd name="connsiteX9" fmla="*/ 5960488 w 7575928"/>
              <a:gd name="connsiteY9" fmla="*/ 5516879 h 5658981"/>
              <a:gd name="connsiteX10" fmla="*/ 5716648 w 7575928"/>
              <a:gd name="connsiteY10" fmla="*/ 5554978 h 5658981"/>
              <a:gd name="connsiteX11" fmla="*/ 4665088 w 7575928"/>
              <a:gd name="connsiteY11" fmla="*/ 5547358 h 5658981"/>
              <a:gd name="connsiteX12" fmla="*/ 4169788 w 7575928"/>
              <a:gd name="connsiteY12" fmla="*/ 4792978 h 5658981"/>
              <a:gd name="connsiteX13" fmla="*/ 1914268 w 7575928"/>
              <a:gd name="connsiteY13" fmla="*/ 4892038 h 5658981"/>
              <a:gd name="connsiteX14" fmla="*/ 870329 w 7575928"/>
              <a:gd name="connsiteY14" fmla="*/ 3657598 h 5658981"/>
              <a:gd name="connsiteX15" fmla="*/ 32128 w 7575928"/>
              <a:gd name="connsiteY15" fmla="*/ 5538156 h 5658981"/>
              <a:gd name="connsiteX16" fmla="*/ 2333368 w 7575928"/>
              <a:gd name="connsiteY16" fmla="*/ 1107187 h 5658981"/>
              <a:gd name="connsiteX0" fmla="*/ 1467514 w 6710074"/>
              <a:gd name="connsiteY0" fmla="*/ 1107187 h 5579533"/>
              <a:gd name="connsiteX1" fmla="*/ 2221894 w 6710074"/>
              <a:gd name="connsiteY1" fmla="*/ 0 h 5579533"/>
              <a:gd name="connsiteX2" fmla="*/ 1619914 w 6710074"/>
              <a:gd name="connsiteY2" fmla="*/ 1165860 h 5579533"/>
              <a:gd name="connsiteX3" fmla="*/ 1612294 w 6710074"/>
              <a:gd name="connsiteY3" fmla="*/ 2552700 h 5579533"/>
              <a:gd name="connsiteX4" fmla="*/ 3936394 w 6710074"/>
              <a:gd name="connsiteY4" fmla="*/ 2560320 h 5579533"/>
              <a:gd name="connsiteX5" fmla="*/ 3944014 w 6710074"/>
              <a:gd name="connsiteY5" fmla="*/ 3598927 h 5579533"/>
              <a:gd name="connsiteX6" fmla="*/ 6679594 w 6710074"/>
              <a:gd name="connsiteY6" fmla="*/ 3595056 h 5579533"/>
              <a:gd name="connsiteX7" fmla="*/ 6710074 w 6710074"/>
              <a:gd name="connsiteY7" fmla="*/ 4511039 h 5579533"/>
              <a:gd name="connsiteX8" fmla="*/ 5155594 w 6710074"/>
              <a:gd name="connsiteY8" fmla="*/ 4732018 h 5579533"/>
              <a:gd name="connsiteX9" fmla="*/ 5094634 w 6710074"/>
              <a:gd name="connsiteY9" fmla="*/ 5516879 h 5579533"/>
              <a:gd name="connsiteX10" fmla="*/ 4850794 w 6710074"/>
              <a:gd name="connsiteY10" fmla="*/ 5554978 h 5579533"/>
              <a:gd name="connsiteX11" fmla="*/ 3799234 w 6710074"/>
              <a:gd name="connsiteY11" fmla="*/ 5547358 h 5579533"/>
              <a:gd name="connsiteX12" fmla="*/ 3303934 w 6710074"/>
              <a:gd name="connsiteY12" fmla="*/ 4792978 h 5579533"/>
              <a:gd name="connsiteX13" fmla="*/ 1048414 w 6710074"/>
              <a:gd name="connsiteY13" fmla="*/ 4892038 h 5579533"/>
              <a:gd name="connsiteX14" fmla="*/ 4475 w 6710074"/>
              <a:gd name="connsiteY14" fmla="*/ 3657598 h 5579533"/>
              <a:gd name="connsiteX15" fmla="*/ 1467514 w 6710074"/>
              <a:gd name="connsiteY15" fmla="*/ 3221676 h 5579533"/>
              <a:gd name="connsiteX16" fmla="*/ 1467514 w 6710074"/>
              <a:gd name="connsiteY16" fmla="*/ 1107187 h 5579533"/>
              <a:gd name="connsiteX0" fmla="*/ 1467514 w 6710074"/>
              <a:gd name="connsiteY0" fmla="*/ 1107187 h 5579533"/>
              <a:gd name="connsiteX1" fmla="*/ 2221894 w 6710074"/>
              <a:gd name="connsiteY1" fmla="*/ 0 h 5579533"/>
              <a:gd name="connsiteX2" fmla="*/ 1619914 w 6710074"/>
              <a:gd name="connsiteY2" fmla="*/ 1165860 h 5579533"/>
              <a:gd name="connsiteX3" fmla="*/ 1612294 w 6710074"/>
              <a:gd name="connsiteY3" fmla="*/ 2552700 h 5579533"/>
              <a:gd name="connsiteX4" fmla="*/ 3936394 w 6710074"/>
              <a:gd name="connsiteY4" fmla="*/ 2560320 h 5579533"/>
              <a:gd name="connsiteX5" fmla="*/ 3944014 w 6710074"/>
              <a:gd name="connsiteY5" fmla="*/ 3598927 h 5579533"/>
              <a:gd name="connsiteX6" fmla="*/ 6679594 w 6710074"/>
              <a:gd name="connsiteY6" fmla="*/ 3595056 h 5579533"/>
              <a:gd name="connsiteX7" fmla="*/ 6710074 w 6710074"/>
              <a:gd name="connsiteY7" fmla="*/ 4511039 h 5579533"/>
              <a:gd name="connsiteX8" fmla="*/ 5155594 w 6710074"/>
              <a:gd name="connsiteY8" fmla="*/ 4732018 h 5579533"/>
              <a:gd name="connsiteX9" fmla="*/ 5094634 w 6710074"/>
              <a:gd name="connsiteY9" fmla="*/ 5516879 h 5579533"/>
              <a:gd name="connsiteX10" fmla="*/ 4850794 w 6710074"/>
              <a:gd name="connsiteY10" fmla="*/ 5554978 h 5579533"/>
              <a:gd name="connsiteX11" fmla="*/ 3799234 w 6710074"/>
              <a:gd name="connsiteY11" fmla="*/ 5547358 h 5579533"/>
              <a:gd name="connsiteX12" fmla="*/ 3303934 w 6710074"/>
              <a:gd name="connsiteY12" fmla="*/ 4792978 h 5579533"/>
              <a:gd name="connsiteX13" fmla="*/ 1048414 w 6710074"/>
              <a:gd name="connsiteY13" fmla="*/ 4892038 h 5579533"/>
              <a:gd name="connsiteX14" fmla="*/ 4475 w 6710074"/>
              <a:gd name="connsiteY14" fmla="*/ 3657598 h 5579533"/>
              <a:gd name="connsiteX15" fmla="*/ 1467514 w 6710074"/>
              <a:gd name="connsiteY15" fmla="*/ 3221676 h 5579533"/>
              <a:gd name="connsiteX16" fmla="*/ 1467514 w 6710074"/>
              <a:gd name="connsiteY16" fmla="*/ 1107187 h 55795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6710074" h="5579533">
                <a:moveTo>
                  <a:pt x="1467514" y="1107187"/>
                </a:moveTo>
                <a:lnTo>
                  <a:pt x="2221894" y="0"/>
                </a:lnTo>
                <a:lnTo>
                  <a:pt x="1619914" y="1165860"/>
                </a:lnTo>
                <a:lnTo>
                  <a:pt x="1612294" y="2552700"/>
                </a:lnTo>
                <a:lnTo>
                  <a:pt x="3936394" y="2560320"/>
                </a:lnTo>
                <a:lnTo>
                  <a:pt x="3944014" y="3598927"/>
                </a:lnTo>
                <a:lnTo>
                  <a:pt x="6679594" y="3595056"/>
                </a:lnTo>
                <a:lnTo>
                  <a:pt x="6710074" y="4511039"/>
                </a:lnTo>
                <a:lnTo>
                  <a:pt x="5155594" y="4732018"/>
                </a:lnTo>
                <a:lnTo>
                  <a:pt x="5094634" y="5516879"/>
                </a:lnTo>
                <a:cubicBezTo>
                  <a:pt x="5043834" y="5660389"/>
                  <a:pt x="5062884" y="5505448"/>
                  <a:pt x="4850794" y="5554978"/>
                </a:cubicBezTo>
                <a:cubicBezTo>
                  <a:pt x="4638704" y="5558788"/>
                  <a:pt x="4746654" y="5556512"/>
                  <a:pt x="3799234" y="5547358"/>
                </a:cubicBezTo>
                <a:lnTo>
                  <a:pt x="3303934" y="4792978"/>
                </a:lnTo>
                <a:cubicBezTo>
                  <a:pt x="2875944" y="4819648"/>
                  <a:pt x="1738024" y="4767842"/>
                  <a:pt x="1048414" y="4892038"/>
                </a:cubicBezTo>
                <a:cubicBezTo>
                  <a:pt x="700434" y="4480558"/>
                  <a:pt x="-65375" y="3935991"/>
                  <a:pt x="4475" y="3657598"/>
                </a:cubicBezTo>
                <a:lnTo>
                  <a:pt x="1467514" y="3221676"/>
                </a:lnTo>
                <a:lnTo>
                  <a:pt x="1467514" y="1107187"/>
                </a:lnTo>
                <a:close/>
              </a:path>
            </a:pathLst>
          </a:custGeom>
          <a:solidFill>
            <a:schemeClr val="accent1">
              <a:alpha val="3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5" name="Рисунок 2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9875" y="497587"/>
            <a:ext cx="785531" cy="788185"/>
          </a:xfrm>
          <a:prstGeom prst="rect">
            <a:avLst/>
          </a:prstGeom>
        </p:spPr>
      </p:pic>
      <p:sp>
        <p:nvSpPr>
          <p:cNvPr id="27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479875" y="1149745"/>
            <a:ext cx="2258682" cy="1499225"/>
          </a:xfrm>
        </p:spPr>
        <p:txBody>
          <a:bodyPr/>
          <a:lstStyle/>
          <a:p>
            <a:r>
              <a:rPr lang="ru-RU" sz="1600" b="1" dirty="0" smtClean="0">
                <a:solidFill>
                  <a:srgbClr val="000000"/>
                </a:solidFill>
              </a:rPr>
              <a:t>1 этап</a:t>
            </a:r>
          </a:p>
          <a:p>
            <a:r>
              <a:rPr lang="ru-RU" sz="1600" b="1" dirty="0" smtClean="0">
                <a:solidFill>
                  <a:srgbClr val="000000"/>
                </a:solidFill>
              </a:rPr>
              <a:t>гидравлических</a:t>
            </a:r>
          </a:p>
          <a:p>
            <a:r>
              <a:rPr lang="ru-RU" sz="1600" b="1" dirty="0">
                <a:solidFill>
                  <a:srgbClr val="000000"/>
                </a:solidFill>
              </a:rPr>
              <a:t>и</a:t>
            </a:r>
            <a:r>
              <a:rPr lang="ru-RU" sz="1600" b="1" dirty="0" smtClean="0">
                <a:solidFill>
                  <a:srgbClr val="000000"/>
                </a:solidFill>
              </a:rPr>
              <a:t>спытаний</a:t>
            </a:r>
            <a:endParaRPr lang="ru-RU" sz="1600" b="1" dirty="0" smtClean="0">
              <a:solidFill>
                <a:srgbClr val="000000"/>
              </a:solidFill>
            </a:endParaRPr>
          </a:p>
          <a:p>
            <a:r>
              <a:rPr lang="ru-RU" sz="1400" b="1" dirty="0" smtClean="0"/>
              <a:t>с 14.05.2019-28.05.2019</a:t>
            </a:r>
            <a:endParaRPr lang="en-US" sz="1400" b="1" dirty="0"/>
          </a:p>
        </p:txBody>
      </p:sp>
    </p:spTree>
    <p:extLst>
      <p:ext uri="{BB962C8B-B14F-4D97-AF65-F5344CB8AC3E}">
        <p14:creationId xmlns:p14="http://schemas.microsoft.com/office/powerpoint/2010/main" val="41353676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Объект 5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1304" y="278130"/>
            <a:ext cx="8212688" cy="6423660"/>
          </a:xfrm>
        </p:spPr>
      </p:pic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srgbClr val="000000"/>
                </a:solidFill>
              </a:rPr>
              <a:t> 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Фигура, имеющая форму буквы L 6"/>
          <p:cNvSpPr/>
          <p:nvPr/>
        </p:nvSpPr>
        <p:spPr>
          <a:xfrm>
            <a:off x="7866659" y="5892171"/>
            <a:ext cx="647700" cy="579120"/>
          </a:xfrm>
          <a:prstGeom prst="corner">
            <a:avLst/>
          </a:prstGeom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dirty="0" smtClean="0"/>
              <a:t>ЧТЭЦ-3</a:t>
            </a:r>
            <a:endParaRPr lang="ru-RU" sz="1000" dirty="0"/>
          </a:p>
        </p:txBody>
      </p:sp>
      <p:cxnSp>
        <p:nvCxnSpPr>
          <p:cNvPr id="9" name="Прямая соединительная линия 8"/>
          <p:cNvCxnSpPr/>
          <p:nvPr/>
        </p:nvCxnSpPr>
        <p:spPr>
          <a:xfrm flipH="1" flipV="1">
            <a:off x="5699760" y="6050280"/>
            <a:ext cx="2166899" cy="421011"/>
          </a:xfrm>
          <a:prstGeom prst="line">
            <a:avLst/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1" name="Прямая соединительная линия 10"/>
          <p:cNvCxnSpPr/>
          <p:nvPr/>
        </p:nvCxnSpPr>
        <p:spPr>
          <a:xfrm flipV="1">
            <a:off x="5699760" y="3489960"/>
            <a:ext cx="297180" cy="2560320"/>
          </a:xfrm>
          <a:prstGeom prst="line">
            <a:avLst/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3" name="Прямая соединительная линия 12"/>
          <p:cNvCxnSpPr/>
          <p:nvPr/>
        </p:nvCxnSpPr>
        <p:spPr>
          <a:xfrm flipH="1" flipV="1">
            <a:off x="4579620" y="1844040"/>
            <a:ext cx="1417320" cy="1645920"/>
          </a:xfrm>
          <a:prstGeom prst="line">
            <a:avLst/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 flipV="1">
            <a:off x="1150620" y="1844040"/>
            <a:ext cx="3429000" cy="1005840"/>
          </a:xfrm>
          <a:prstGeom prst="line">
            <a:avLst/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1150620" y="2849880"/>
            <a:ext cx="365760" cy="1211580"/>
          </a:xfrm>
          <a:prstGeom prst="line">
            <a:avLst/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18"/>
          <p:cNvCxnSpPr/>
          <p:nvPr/>
        </p:nvCxnSpPr>
        <p:spPr>
          <a:xfrm>
            <a:off x="1516380" y="4061460"/>
            <a:ext cx="4183380" cy="2120271"/>
          </a:xfrm>
          <a:prstGeom prst="line">
            <a:avLst/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1" name="Прямая соединительная линия 20"/>
          <p:cNvCxnSpPr/>
          <p:nvPr/>
        </p:nvCxnSpPr>
        <p:spPr>
          <a:xfrm>
            <a:off x="5699760" y="6181731"/>
            <a:ext cx="2110740" cy="289560"/>
          </a:xfrm>
          <a:prstGeom prst="line">
            <a:avLst/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22" name="Прямоугольник 21"/>
          <p:cNvSpPr/>
          <p:nvPr/>
        </p:nvSpPr>
        <p:spPr>
          <a:xfrm>
            <a:off x="1158240" y="1844040"/>
            <a:ext cx="6743700" cy="4631376"/>
          </a:xfrm>
          <a:custGeom>
            <a:avLst/>
            <a:gdLst>
              <a:gd name="connsiteX0" fmla="*/ 0 w 7040880"/>
              <a:gd name="connsiteY0" fmla="*/ 0 h 4753296"/>
              <a:gd name="connsiteX1" fmla="*/ 7040880 w 7040880"/>
              <a:gd name="connsiteY1" fmla="*/ 0 h 4753296"/>
              <a:gd name="connsiteX2" fmla="*/ 7040880 w 7040880"/>
              <a:gd name="connsiteY2" fmla="*/ 4753296 h 4753296"/>
              <a:gd name="connsiteX3" fmla="*/ 0 w 7040880"/>
              <a:gd name="connsiteY3" fmla="*/ 4753296 h 4753296"/>
              <a:gd name="connsiteX4" fmla="*/ 0 w 7040880"/>
              <a:gd name="connsiteY4" fmla="*/ 0 h 4753296"/>
              <a:gd name="connsiteX0" fmla="*/ 251460 w 7040880"/>
              <a:gd name="connsiteY0" fmla="*/ 990600 h 4753296"/>
              <a:gd name="connsiteX1" fmla="*/ 7040880 w 7040880"/>
              <a:gd name="connsiteY1" fmla="*/ 0 h 4753296"/>
              <a:gd name="connsiteX2" fmla="*/ 7040880 w 7040880"/>
              <a:gd name="connsiteY2" fmla="*/ 4753296 h 4753296"/>
              <a:gd name="connsiteX3" fmla="*/ 0 w 7040880"/>
              <a:gd name="connsiteY3" fmla="*/ 4753296 h 4753296"/>
              <a:gd name="connsiteX4" fmla="*/ 251460 w 7040880"/>
              <a:gd name="connsiteY4" fmla="*/ 990600 h 4753296"/>
              <a:gd name="connsiteX0" fmla="*/ 251460 w 7040880"/>
              <a:gd name="connsiteY0" fmla="*/ 990600 h 4753296"/>
              <a:gd name="connsiteX1" fmla="*/ 3627120 w 7040880"/>
              <a:gd name="connsiteY1" fmla="*/ 0 h 4753296"/>
              <a:gd name="connsiteX2" fmla="*/ 7040880 w 7040880"/>
              <a:gd name="connsiteY2" fmla="*/ 4753296 h 4753296"/>
              <a:gd name="connsiteX3" fmla="*/ 0 w 7040880"/>
              <a:gd name="connsiteY3" fmla="*/ 4753296 h 4753296"/>
              <a:gd name="connsiteX4" fmla="*/ 251460 w 7040880"/>
              <a:gd name="connsiteY4" fmla="*/ 990600 h 4753296"/>
              <a:gd name="connsiteX0" fmla="*/ 251460 w 7040880"/>
              <a:gd name="connsiteY0" fmla="*/ 990600 h 4753296"/>
              <a:gd name="connsiteX1" fmla="*/ 3627120 w 7040880"/>
              <a:gd name="connsiteY1" fmla="*/ 0 h 4753296"/>
              <a:gd name="connsiteX2" fmla="*/ 7040880 w 7040880"/>
              <a:gd name="connsiteY2" fmla="*/ 4753296 h 4753296"/>
              <a:gd name="connsiteX3" fmla="*/ 0 w 7040880"/>
              <a:gd name="connsiteY3" fmla="*/ 4753296 h 4753296"/>
              <a:gd name="connsiteX4" fmla="*/ 251460 w 7040880"/>
              <a:gd name="connsiteY4" fmla="*/ 990600 h 4753296"/>
              <a:gd name="connsiteX0" fmla="*/ 251460 w 7241618"/>
              <a:gd name="connsiteY0" fmla="*/ 990600 h 4753296"/>
              <a:gd name="connsiteX1" fmla="*/ 3627120 w 7241618"/>
              <a:gd name="connsiteY1" fmla="*/ 0 h 4753296"/>
              <a:gd name="connsiteX2" fmla="*/ 5173980 w 7241618"/>
              <a:gd name="connsiteY2" fmla="*/ 1988820 h 4753296"/>
              <a:gd name="connsiteX3" fmla="*/ 7040880 w 7241618"/>
              <a:gd name="connsiteY3" fmla="*/ 4753296 h 4753296"/>
              <a:gd name="connsiteX4" fmla="*/ 0 w 7241618"/>
              <a:gd name="connsiteY4" fmla="*/ 4753296 h 4753296"/>
              <a:gd name="connsiteX5" fmla="*/ 251460 w 7241618"/>
              <a:gd name="connsiteY5" fmla="*/ 990600 h 4753296"/>
              <a:gd name="connsiteX0" fmla="*/ 251460 w 7234318"/>
              <a:gd name="connsiteY0" fmla="*/ 990600 h 4753296"/>
              <a:gd name="connsiteX1" fmla="*/ 3627120 w 7234318"/>
              <a:gd name="connsiteY1" fmla="*/ 0 h 4753296"/>
              <a:gd name="connsiteX2" fmla="*/ 5067300 w 7234318"/>
              <a:gd name="connsiteY2" fmla="*/ 1661160 h 4753296"/>
              <a:gd name="connsiteX3" fmla="*/ 7040880 w 7234318"/>
              <a:gd name="connsiteY3" fmla="*/ 4753296 h 4753296"/>
              <a:gd name="connsiteX4" fmla="*/ 0 w 7234318"/>
              <a:gd name="connsiteY4" fmla="*/ 4753296 h 4753296"/>
              <a:gd name="connsiteX5" fmla="*/ 251460 w 7234318"/>
              <a:gd name="connsiteY5" fmla="*/ 990600 h 4753296"/>
              <a:gd name="connsiteX0" fmla="*/ 251460 w 7234318"/>
              <a:gd name="connsiteY0" fmla="*/ 990600 h 4753296"/>
              <a:gd name="connsiteX1" fmla="*/ 3627120 w 7234318"/>
              <a:gd name="connsiteY1" fmla="*/ 0 h 4753296"/>
              <a:gd name="connsiteX2" fmla="*/ 5067300 w 7234318"/>
              <a:gd name="connsiteY2" fmla="*/ 1661160 h 4753296"/>
              <a:gd name="connsiteX3" fmla="*/ 7040880 w 7234318"/>
              <a:gd name="connsiteY3" fmla="*/ 4753296 h 4753296"/>
              <a:gd name="connsiteX4" fmla="*/ 0 w 7234318"/>
              <a:gd name="connsiteY4" fmla="*/ 4753296 h 4753296"/>
              <a:gd name="connsiteX5" fmla="*/ 251460 w 7234318"/>
              <a:gd name="connsiteY5" fmla="*/ 990600 h 4753296"/>
              <a:gd name="connsiteX0" fmla="*/ 251460 w 7322258"/>
              <a:gd name="connsiteY0" fmla="*/ 990600 h 4753296"/>
              <a:gd name="connsiteX1" fmla="*/ 3627120 w 7322258"/>
              <a:gd name="connsiteY1" fmla="*/ 0 h 4753296"/>
              <a:gd name="connsiteX2" fmla="*/ 5067300 w 7322258"/>
              <a:gd name="connsiteY2" fmla="*/ 1661160 h 4753296"/>
              <a:gd name="connsiteX3" fmla="*/ 5844540 w 7322258"/>
              <a:gd name="connsiteY3" fmla="*/ 2522220 h 4753296"/>
              <a:gd name="connsiteX4" fmla="*/ 7040880 w 7322258"/>
              <a:gd name="connsiteY4" fmla="*/ 4753296 h 4753296"/>
              <a:gd name="connsiteX5" fmla="*/ 0 w 7322258"/>
              <a:gd name="connsiteY5" fmla="*/ 4753296 h 4753296"/>
              <a:gd name="connsiteX6" fmla="*/ 251460 w 7322258"/>
              <a:gd name="connsiteY6" fmla="*/ 990600 h 4753296"/>
              <a:gd name="connsiteX0" fmla="*/ 251460 w 7240756"/>
              <a:gd name="connsiteY0" fmla="*/ 990600 h 4753296"/>
              <a:gd name="connsiteX1" fmla="*/ 3627120 w 7240756"/>
              <a:gd name="connsiteY1" fmla="*/ 0 h 4753296"/>
              <a:gd name="connsiteX2" fmla="*/ 5067300 w 7240756"/>
              <a:gd name="connsiteY2" fmla="*/ 1661160 h 4753296"/>
              <a:gd name="connsiteX3" fmla="*/ 4800600 w 7240756"/>
              <a:gd name="connsiteY3" fmla="*/ 4183380 h 4753296"/>
              <a:gd name="connsiteX4" fmla="*/ 7040880 w 7240756"/>
              <a:gd name="connsiteY4" fmla="*/ 4753296 h 4753296"/>
              <a:gd name="connsiteX5" fmla="*/ 0 w 7240756"/>
              <a:gd name="connsiteY5" fmla="*/ 4753296 h 4753296"/>
              <a:gd name="connsiteX6" fmla="*/ 251460 w 7240756"/>
              <a:gd name="connsiteY6" fmla="*/ 990600 h 4753296"/>
              <a:gd name="connsiteX0" fmla="*/ 251460 w 7240756"/>
              <a:gd name="connsiteY0" fmla="*/ 990600 h 4753296"/>
              <a:gd name="connsiteX1" fmla="*/ 3627120 w 7240756"/>
              <a:gd name="connsiteY1" fmla="*/ 0 h 4753296"/>
              <a:gd name="connsiteX2" fmla="*/ 5067300 w 7240756"/>
              <a:gd name="connsiteY2" fmla="*/ 1661160 h 4753296"/>
              <a:gd name="connsiteX3" fmla="*/ 4800600 w 7240756"/>
              <a:gd name="connsiteY3" fmla="*/ 4183380 h 4753296"/>
              <a:gd name="connsiteX4" fmla="*/ 7040880 w 7240756"/>
              <a:gd name="connsiteY4" fmla="*/ 4753296 h 4753296"/>
              <a:gd name="connsiteX5" fmla="*/ 0 w 7240756"/>
              <a:gd name="connsiteY5" fmla="*/ 4753296 h 4753296"/>
              <a:gd name="connsiteX6" fmla="*/ 251460 w 7240756"/>
              <a:gd name="connsiteY6" fmla="*/ 990600 h 4753296"/>
              <a:gd name="connsiteX0" fmla="*/ 251460 w 7040880"/>
              <a:gd name="connsiteY0" fmla="*/ 990600 h 4753296"/>
              <a:gd name="connsiteX1" fmla="*/ 3627120 w 7040880"/>
              <a:gd name="connsiteY1" fmla="*/ 0 h 4753296"/>
              <a:gd name="connsiteX2" fmla="*/ 5067300 w 7040880"/>
              <a:gd name="connsiteY2" fmla="*/ 1661160 h 4753296"/>
              <a:gd name="connsiteX3" fmla="*/ 4800600 w 7040880"/>
              <a:gd name="connsiteY3" fmla="*/ 4183380 h 4753296"/>
              <a:gd name="connsiteX4" fmla="*/ 7040880 w 7040880"/>
              <a:gd name="connsiteY4" fmla="*/ 4753296 h 4753296"/>
              <a:gd name="connsiteX5" fmla="*/ 0 w 7040880"/>
              <a:gd name="connsiteY5" fmla="*/ 4753296 h 4753296"/>
              <a:gd name="connsiteX6" fmla="*/ 251460 w 7040880"/>
              <a:gd name="connsiteY6" fmla="*/ 990600 h 4753296"/>
              <a:gd name="connsiteX0" fmla="*/ 251460 w 6995160"/>
              <a:gd name="connsiteY0" fmla="*/ 990600 h 4753296"/>
              <a:gd name="connsiteX1" fmla="*/ 3627120 w 6995160"/>
              <a:gd name="connsiteY1" fmla="*/ 0 h 4753296"/>
              <a:gd name="connsiteX2" fmla="*/ 5067300 w 6995160"/>
              <a:gd name="connsiteY2" fmla="*/ 1661160 h 4753296"/>
              <a:gd name="connsiteX3" fmla="*/ 4800600 w 6995160"/>
              <a:gd name="connsiteY3" fmla="*/ 4183380 h 4753296"/>
              <a:gd name="connsiteX4" fmla="*/ 6995160 w 6995160"/>
              <a:gd name="connsiteY4" fmla="*/ 4631376 h 4753296"/>
              <a:gd name="connsiteX5" fmla="*/ 0 w 6995160"/>
              <a:gd name="connsiteY5" fmla="*/ 4753296 h 4753296"/>
              <a:gd name="connsiteX6" fmla="*/ 251460 w 6995160"/>
              <a:gd name="connsiteY6" fmla="*/ 990600 h 4753296"/>
              <a:gd name="connsiteX0" fmla="*/ 0 w 6743700"/>
              <a:gd name="connsiteY0" fmla="*/ 990600 h 4631376"/>
              <a:gd name="connsiteX1" fmla="*/ 3375660 w 6743700"/>
              <a:gd name="connsiteY1" fmla="*/ 0 h 4631376"/>
              <a:gd name="connsiteX2" fmla="*/ 4815840 w 6743700"/>
              <a:gd name="connsiteY2" fmla="*/ 1661160 h 4631376"/>
              <a:gd name="connsiteX3" fmla="*/ 4549140 w 6743700"/>
              <a:gd name="connsiteY3" fmla="*/ 4183380 h 4631376"/>
              <a:gd name="connsiteX4" fmla="*/ 6743700 w 6743700"/>
              <a:gd name="connsiteY4" fmla="*/ 4631376 h 4631376"/>
              <a:gd name="connsiteX5" fmla="*/ 4518660 w 6743700"/>
              <a:gd name="connsiteY5" fmla="*/ 4341816 h 4631376"/>
              <a:gd name="connsiteX6" fmla="*/ 0 w 6743700"/>
              <a:gd name="connsiteY6" fmla="*/ 990600 h 4631376"/>
              <a:gd name="connsiteX0" fmla="*/ 0 w 6743700"/>
              <a:gd name="connsiteY0" fmla="*/ 990600 h 4631376"/>
              <a:gd name="connsiteX1" fmla="*/ 3375660 w 6743700"/>
              <a:gd name="connsiteY1" fmla="*/ 0 h 4631376"/>
              <a:gd name="connsiteX2" fmla="*/ 4815840 w 6743700"/>
              <a:gd name="connsiteY2" fmla="*/ 1661160 h 4631376"/>
              <a:gd name="connsiteX3" fmla="*/ 4549140 w 6743700"/>
              <a:gd name="connsiteY3" fmla="*/ 4183380 h 4631376"/>
              <a:gd name="connsiteX4" fmla="*/ 6743700 w 6743700"/>
              <a:gd name="connsiteY4" fmla="*/ 4631376 h 4631376"/>
              <a:gd name="connsiteX5" fmla="*/ 4518660 w 6743700"/>
              <a:gd name="connsiteY5" fmla="*/ 4341816 h 4631376"/>
              <a:gd name="connsiteX6" fmla="*/ 0 w 6743700"/>
              <a:gd name="connsiteY6" fmla="*/ 990600 h 4631376"/>
              <a:gd name="connsiteX0" fmla="*/ 0 w 6743700"/>
              <a:gd name="connsiteY0" fmla="*/ 990600 h 4631376"/>
              <a:gd name="connsiteX1" fmla="*/ 3375660 w 6743700"/>
              <a:gd name="connsiteY1" fmla="*/ 0 h 4631376"/>
              <a:gd name="connsiteX2" fmla="*/ 4815840 w 6743700"/>
              <a:gd name="connsiteY2" fmla="*/ 1661160 h 4631376"/>
              <a:gd name="connsiteX3" fmla="*/ 4549140 w 6743700"/>
              <a:gd name="connsiteY3" fmla="*/ 4183380 h 4631376"/>
              <a:gd name="connsiteX4" fmla="*/ 6743700 w 6743700"/>
              <a:gd name="connsiteY4" fmla="*/ 4631376 h 4631376"/>
              <a:gd name="connsiteX5" fmla="*/ 4518660 w 6743700"/>
              <a:gd name="connsiteY5" fmla="*/ 4341816 h 4631376"/>
              <a:gd name="connsiteX6" fmla="*/ 0 w 6743700"/>
              <a:gd name="connsiteY6" fmla="*/ 990600 h 4631376"/>
              <a:gd name="connsiteX0" fmla="*/ 0 w 6743700"/>
              <a:gd name="connsiteY0" fmla="*/ 990600 h 4631376"/>
              <a:gd name="connsiteX1" fmla="*/ 3375660 w 6743700"/>
              <a:gd name="connsiteY1" fmla="*/ 0 h 4631376"/>
              <a:gd name="connsiteX2" fmla="*/ 4815840 w 6743700"/>
              <a:gd name="connsiteY2" fmla="*/ 1661160 h 4631376"/>
              <a:gd name="connsiteX3" fmla="*/ 4549140 w 6743700"/>
              <a:gd name="connsiteY3" fmla="*/ 4183380 h 4631376"/>
              <a:gd name="connsiteX4" fmla="*/ 6743700 w 6743700"/>
              <a:gd name="connsiteY4" fmla="*/ 4631376 h 4631376"/>
              <a:gd name="connsiteX5" fmla="*/ 4518660 w 6743700"/>
              <a:gd name="connsiteY5" fmla="*/ 4341816 h 4631376"/>
              <a:gd name="connsiteX6" fmla="*/ 1760220 w 6743700"/>
              <a:gd name="connsiteY6" fmla="*/ 2316480 h 4631376"/>
              <a:gd name="connsiteX7" fmla="*/ 0 w 6743700"/>
              <a:gd name="connsiteY7" fmla="*/ 990600 h 4631376"/>
              <a:gd name="connsiteX0" fmla="*/ 0 w 6743700"/>
              <a:gd name="connsiteY0" fmla="*/ 990600 h 4631376"/>
              <a:gd name="connsiteX1" fmla="*/ 3375660 w 6743700"/>
              <a:gd name="connsiteY1" fmla="*/ 0 h 4631376"/>
              <a:gd name="connsiteX2" fmla="*/ 4815840 w 6743700"/>
              <a:gd name="connsiteY2" fmla="*/ 1661160 h 4631376"/>
              <a:gd name="connsiteX3" fmla="*/ 4549140 w 6743700"/>
              <a:gd name="connsiteY3" fmla="*/ 4183380 h 4631376"/>
              <a:gd name="connsiteX4" fmla="*/ 6743700 w 6743700"/>
              <a:gd name="connsiteY4" fmla="*/ 4631376 h 4631376"/>
              <a:gd name="connsiteX5" fmla="*/ 4518660 w 6743700"/>
              <a:gd name="connsiteY5" fmla="*/ 4341816 h 4631376"/>
              <a:gd name="connsiteX6" fmla="*/ 373380 w 6743700"/>
              <a:gd name="connsiteY6" fmla="*/ 2247900 h 4631376"/>
              <a:gd name="connsiteX7" fmla="*/ 0 w 6743700"/>
              <a:gd name="connsiteY7" fmla="*/ 990600 h 46313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743700" h="4631376">
                <a:moveTo>
                  <a:pt x="0" y="990600"/>
                </a:moveTo>
                <a:lnTo>
                  <a:pt x="3375660" y="0"/>
                </a:lnTo>
                <a:lnTo>
                  <a:pt x="4815840" y="1661160"/>
                </a:lnTo>
                <a:lnTo>
                  <a:pt x="4549140" y="4183380"/>
                </a:lnTo>
                <a:lnTo>
                  <a:pt x="6743700" y="4631376"/>
                </a:lnTo>
                <a:lnTo>
                  <a:pt x="4518660" y="4341816"/>
                </a:lnTo>
                <a:lnTo>
                  <a:pt x="373380" y="2247900"/>
                </a:lnTo>
                <a:lnTo>
                  <a:pt x="0" y="990600"/>
                </a:lnTo>
                <a:close/>
              </a:path>
            </a:pathLst>
          </a:custGeom>
          <a:solidFill>
            <a:schemeClr val="accent1">
              <a:alpha val="3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15876" y="394552"/>
            <a:ext cx="785531" cy="788185"/>
          </a:xfrm>
          <a:prstGeom prst="rect">
            <a:avLst/>
          </a:prstGeom>
        </p:spPr>
      </p:pic>
      <p:sp>
        <p:nvSpPr>
          <p:cNvPr id="18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414678" y="1049294"/>
            <a:ext cx="2319314" cy="1345023"/>
          </a:xfrm>
        </p:spPr>
        <p:txBody>
          <a:bodyPr/>
          <a:lstStyle/>
          <a:p>
            <a:r>
              <a:rPr lang="ru-RU" sz="1600" b="1" dirty="0" smtClean="0">
                <a:solidFill>
                  <a:srgbClr val="000000"/>
                </a:solidFill>
              </a:rPr>
              <a:t>1 этап</a:t>
            </a:r>
          </a:p>
          <a:p>
            <a:r>
              <a:rPr lang="ru-RU" sz="1600" b="1" dirty="0" smtClean="0">
                <a:solidFill>
                  <a:srgbClr val="000000"/>
                </a:solidFill>
              </a:rPr>
              <a:t>гидравлических</a:t>
            </a:r>
          </a:p>
          <a:p>
            <a:r>
              <a:rPr lang="ru-RU" sz="1600" b="1" dirty="0">
                <a:solidFill>
                  <a:srgbClr val="000000"/>
                </a:solidFill>
              </a:rPr>
              <a:t>и</a:t>
            </a:r>
            <a:r>
              <a:rPr lang="ru-RU" sz="1600" b="1" dirty="0" smtClean="0">
                <a:solidFill>
                  <a:srgbClr val="000000"/>
                </a:solidFill>
              </a:rPr>
              <a:t>спытаний</a:t>
            </a:r>
            <a:endParaRPr lang="ru-RU" sz="1600" b="1" dirty="0" smtClean="0">
              <a:solidFill>
                <a:srgbClr val="000000"/>
              </a:solidFill>
            </a:endParaRPr>
          </a:p>
          <a:p>
            <a:r>
              <a:rPr lang="ru-RU" sz="1400" b="1" dirty="0" smtClean="0"/>
              <a:t>с 14.05.2019-28.05.2019</a:t>
            </a:r>
            <a:endParaRPr lang="en-US" sz="1400" b="1" dirty="0"/>
          </a:p>
        </p:txBody>
      </p:sp>
    </p:spTree>
    <p:extLst>
      <p:ext uri="{BB962C8B-B14F-4D97-AF65-F5344CB8AC3E}">
        <p14:creationId xmlns:p14="http://schemas.microsoft.com/office/powerpoint/2010/main" val="40584480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Fortum">
  <a:themeElements>
    <a:clrScheme name="fortum PPT 2017">
      <a:dk1>
        <a:srgbClr val="000000"/>
      </a:dk1>
      <a:lt1>
        <a:sysClr val="window" lastClr="FFFFFF"/>
      </a:lt1>
      <a:dk2>
        <a:srgbClr val="9BBDB6"/>
      </a:dk2>
      <a:lt2>
        <a:srgbClr val="B9B4AA"/>
      </a:lt2>
      <a:accent1>
        <a:srgbClr val="5AC37D"/>
      </a:accent1>
      <a:accent2>
        <a:srgbClr val="377A6C"/>
      </a:accent2>
      <a:accent3>
        <a:srgbClr val="78A0D4"/>
      </a:accent3>
      <a:accent4>
        <a:srgbClr val="003C79"/>
      </a:accent4>
      <a:accent5>
        <a:srgbClr val="F5E100"/>
      </a:accent5>
      <a:accent6>
        <a:srgbClr val="EB6437"/>
      </a:accent6>
      <a:hlink>
        <a:srgbClr val="5AC37D"/>
      </a:hlink>
      <a:folHlink>
        <a:srgbClr val="78A0D4"/>
      </a:folHlink>
    </a:clrScheme>
    <a:fontScheme name="fortu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Fortum_landscape_16_9.potx" id="{70DEE12B-2E46-4677-B647-0CC3368CF5A5}" vid="{3461ABA2-3710-44CF-AA07-6C3B3A937500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26</TotalTime>
  <Words>34</Words>
  <Application>Microsoft Office PowerPoint</Application>
  <PresentationFormat>Экран (4:3)</PresentationFormat>
  <Paragraphs>26</Paragraphs>
  <Slides>4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3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4</vt:i4>
      </vt:variant>
    </vt:vector>
  </HeadingPairs>
  <TitlesOfParts>
    <vt:vector size="9" baseType="lpstr">
      <vt:lpstr>Arial</vt:lpstr>
      <vt:lpstr>Calibri</vt:lpstr>
      <vt:lpstr>GT Eesti Pro Display Bold</vt:lpstr>
      <vt:lpstr>1_Fortum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Fortum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Kalinshteyn Alexander</dc:creator>
  <cp:lastModifiedBy>Великосельская Ирина Александровна</cp:lastModifiedBy>
  <cp:revision>214</cp:revision>
  <cp:lastPrinted>2019-04-01T06:21:20Z</cp:lastPrinted>
  <dcterms:created xsi:type="dcterms:W3CDTF">2017-06-06T03:09:54Z</dcterms:created>
  <dcterms:modified xsi:type="dcterms:W3CDTF">2019-04-30T10:00:27Z</dcterms:modified>
</cp:coreProperties>
</file>